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853" r:id="rId4"/>
    <p:sldMasterId id="2147483749" r:id="rId5"/>
    <p:sldMasterId id="2147483832" r:id="rId6"/>
    <p:sldMasterId id="2147483870" r:id="rId7"/>
    <p:sldMasterId id="2147483675" r:id="rId8"/>
  </p:sldMasterIdLst>
  <p:notesMasterIdLst>
    <p:notesMasterId r:id="rId26"/>
  </p:notesMasterIdLst>
  <p:sldIdLst>
    <p:sldId id="2147308772" r:id="rId9"/>
    <p:sldId id="2147308770" r:id="rId10"/>
    <p:sldId id="2147308769" r:id="rId11"/>
    <p:sldId id="2147308756" r:id="rId12"/>
    <p:sldId id="2147308800" r:id="rId13"/>
    <p:sldId id="2147308796" r:id="rId14"/>
    <p:sldId id="2147308765" r:id="rId15"/>
    <p:sldId id="2147308804" r:id="rId16"/>
    <p:sldId id="2145872856" r:id="rId17"/>
    <p:sldId id="2147308803" r:id="rId18"/>
    <p:sldId id="2147308808" r:id="rId19"/>
    <p:sldId id="2147308802" r:id="rId20"/>
    <p:sldId id="2145872857" r:id="rId21"/>
    <p:sldId id="2147308801" r:id="rId22"/>
    <p:sldId id="2147308745" r:id="rId23"/>
    <p:sldId id="2147308805" r:id="rId24"/>
    <p:sldId id="2147308778" r:id="rId25"/>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amp; Introduction" id="{2F7084D9-D2A1-4556-B504-C8818CA208D7}">
          <p14:sldIdLst>
            <p14:sldId id="2147308772"/>
            <p14:sldId id="2147308770"/>
            <p14:sldId id="2147308769"/>
          </p14:sldIdLst>
        </p14:section>
        <p14:section name="Plan Development" id="{5318CC75-CF6A-4C39-9B8E-4D9C2BC6EF06}">
          <p14:sldIdLst>
            <p14:sldId id="2147308756"/>
            <p14:sldId id="2147308800"/>
            <p14:sldId id="2147308796"/>
          </p14:sldIdLst>
        </p14:section>
        <p14:section name="Regional Review Process" id="{421D615C-4310-4B96-8604-F6AC4AA2CD6C}">
          <p14:sldIdLst>
            <p14:sldId id="2147308765"/>
            <p14:sldId id="2147308804"/>
            <p14:sldId id="2145872856"/>
            <p14:sldId id="2147308803"/>
            <p14:sldId id="2147308808"/>
            <p14:sldId id="2147308802"/>
            <p14:sldId id="2145872857"/>
            <p14:sldId id="2147308801"/>
          </p14:sldIdLst>
        </p14:section>
        <p14:section name="Closing &amp; Thank You" id="{462B1FB2-8D8C-45F0-B41E-87B93306C070}">
          <p14:sldIdLst>
            <p14:sldId id="2147308745"/>
            <p14:sldId id="2147308805"/>
            <p14:sldId id="2147308778"/>
          </p14:sldIdLst>
        </p14:section>
      </p14:sectionLst>
    </p:ext>
    <p:ext uri="{EFAFB233-063F-42B5-8137-9DF3F51BA10A}">
      <p15:sldGuideLst xmlns:p15="http://schemas.microsoft.com/office/powerpoint/2012/main">
        <p15:guide id="1" pos="3840" userDrawn="1">
          <p15:clr>
            <a:srgbClr val="A4A3A4"/>
          </p15:clr>
        </p15:guide>
        <p15:guide id="2"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E2EF303-6FC2-414F-E736-A4F59CC13E77}" name="Shome, Owen" initials="SO" userId="S::oshome@deloitte.com::93981b84-ca19-45ce-b3c4-5c108a9770f0" providerId="AD"/>
  <p188:author id="{D4182315-160C-5B78-49BA-29A326CDCBBE}" name="Oak, Julia" initials="OJ" userId="S::juoak@deloitte.com::99fb97f7-215d-4505-9726-87aa2777734f" providerId="AD"/>
  <p188:author id="{A9722A25-DC85-9340-19D2-A13D0381521E}" name="Schleien, Jonathan" initials="SJ" userId="S::jschleien@deloitte.com::a416dd2a-9dbf-41fb-b9bb-3dac569b844e" providerId="AD"/>
  <p188:author id="{B5344D49-D44B-9F1F-149C-32888DC85AC8}" name="Pam Hatcher" initials="PH" userId="S::Pam.Hatcher@healthtechsolutions.com::791ef5e0-4f6a-4113-aa98-d82658c9d4ef" providerId="AD"/>
  <p188:author id="{8252954D-427A-C0ED-AD0E-4C5379E2B802}" name="Kellie McDermott" initials="KM" userId="S::Kellie.McDermott@healthtechsolutions.com::d37101e2-0e91-4943-81e9-5767a6cb52ad" providerId="AD"/>
  <p188:author id="{46D85C68-E806-9224-7827-0CBD881B65B1}" name="Harris, Amanda" initials="HA" userId="S::amaharris@deloitte.com::57cfbdd2-db3e-4bd6-9ea2-8f7d91315d7e" providerId="AD"/>
  <p188:author id="{E5D2708E-6669-2119-9CF6-249852753CF2}" name="Pam Hatcher" initials="PH" userId="S::pam.hatcher_healthtechsolutions.com#ext#@nasua.onmicrosoft.com::35044830-aadb-41b8-b6fb-849babb1e834" providerId="AD"/>
  <p188:author id="{EDBA86E4-C02E-34D8-63EB-223D95710B5C}" name="Betsy Bella" initials="EKDB" userId="Betsy Bella" providerId="None"/>
  <p188:author id="{5C279BFB-3F0C-81F3-FE42-36FED534BDCA}" name="Pam Hatcher" initials="PH" userId="Pam Hatcher"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29" name="Banzer, Kathryn Elizabeth" initials="BKE" lastIdx="77" clrIdx="28">
    <p:extLst>
      <p:ext uri="{19B8F6BF-5375-455C-9EA6-DF929625EA0E}">
        <p15:presenceInfo xmlns:p15="http://schemas.microsoft.com/office/powerpoint/2012/main" userId="S::kbanzer@deloitte.com::fcdf1b76-5f8a-4952-a90f-96169f9c4194" providerId="AD"/>
      </p:ext>
    </p:extLst>
  </p:cmAuthor>
  <p:cmAuthor id="1" name="Wiebalk, Christopher" initials="WC" lastIdx="8" clrIdx="0">
    <p:extLst>
      <p:ext uri="{19B8F6BF-5375-455C-9EA6-DF929625EA0E}">
        <p15:presenceInfo xmlns:p15="http://schemas.microsoft.com/office/powerpoint/2012/main" userId="S::cwiebalk@deloitte.com::b48fceaf-ab08-4271-9267-1b14446e386d" providerId="AD"/>
      </p:ext>
    </p:extLst>
  </p:cmAuthor>
  <p:cmAuthor id="30" name="Schleien, Jonathan" initials="SJ" lastIdx="2" clrIdx="29">
    <p:extLst>
      <p:ext uri="{19B8F6BF-5375-455C-9EA6-DF929625EA0E}">
        <p15:presenceInfo xmlns:p15="http://schemas.microsoft.com/office/powerpoint/2012/main" userId="S::jschleien@deloitte.com::a416dd2a-9dbf-41fb-b9bb-3dac569b844e" providerId="AD"/>
      </p:ext>
    </p:extLst>
  </p:cmAuthor>
  <p:cmAuthor id="2" name="Pandit, Aarti" initials="PA" lastIdx="78" clrIdx="1">
    <p:extLst>
      <p:ext uri="{19B8F6BF-5375-455C-9EA6-DF929625EA0E}">
        <p15:presenceInfo xmlns:p15="http://schemas.microsoft.com/office/powerpoint/2012/main" userId="S::aapandit@deloitte.com::d8d61f1d-4a16-456e-9a02-8cf74c7b34ca" providerId="AD"/>
      </p:ext>
    </p:extLst>
  </p:cmAuthor>
  <p:cmAuthor id="31" name="Oak, Julia" initials="OJ" lastIdx="22" clrIdx="30">
    <p:extLst>
      <p:ext uri="{19B8F6BF-5375-455C-9EA6-DF929625EA0E}">
        <p15:presenceInfo xmlns:p15="http://schemas.microsoft.com/office/powerpoint/2012/main" userId="S::juoak@deloitte.com::99fb97f7-215d-4505-9726-87aa2777734f" providerId="AD"/>
      </p:ext>
    </p:extLst>
  </p:cmAuthor>
  <p:cmAuthor id="3" name="Torres, Tito" initials="TT" lastIdx="19" clrIdx="2">
    <p:extLst>
      <p:ext uri="{19B8F6BF-5375-455C-9EA6-DF929625EA0E}">
        <p15:presenceInfo xmlns:p15="http://schemas.microsoft.com/office/powerpoint/2012/main" userId="S::ttorres@deloitte.com::5e35e067-fc06-45c3-8f89-5a55771c73bd" providerId="AD"/>
      </p:ext>
    </p:extLst>
  </p:cmAuthor>
  <p:cmAuthor id="32" name="Shome, Owen" initials="SO" lastIdx="7" clrIdx="31">
    <p:extLst>
      <p:ext uri="{19B8F6BF-5375-455C-9EA6-DF929625EA0E}">
        <p15:presenceInfo xmlns:p15="http://schemas.microsoft.com/office/powerpoint/2012/main" userId="S::oshome@deloitte.com::93981b84-ca19-45ce-b3c4-5c108a9770f0" providerId="AD"/>
      </p:ext>
    </p:extLst>
  </p:cmAuthor>
  <p:cmAuthor id="4" name="Rodriguez, Pedro" initials="PR" lastIdx="29" clrIdx="3">
    <p:extLst>
      <p:ext uri="{19B8F6BF-5375-455C-9EA6-DF929625EA0E}">
        <p15:presenceInfo xmlns:p15="http://schemas.microsoft.com/office/powerpoint/2012/main" userId="Rodriguez, Pedro" providerId="None"/>
      </p:ext>
    </p:extLst>
  </p:cmAuthor>
  <p:cmAuthor id="33" name="Betsy Bella" initials="EKDB" lastIdx="30" clrIdx="32">
    <p:extLst>
      <p:ext uri="{19B8F6BF-5375-455C-9EA6-DF929625EA0E}">
        <p15:presenceInfo xmlns:p15="http://schemas.microsoft.com/office/powerpoint/2012/main" userId="Betsy Bella" providerId="None"/>
      </p:ext>
    </p:extLst>
  </p:cmAuthor>
  <p:cmAuthor id="5" name="Rodriguez, Pedro" initials="RP" lastIdx="4" clrIdx="4">
    <p:extLst>
      <p:ext uri="{19B8F6BF-5375-455C-9EA6-DF929625EA0E}">
        <p15:presenceInfo xmlns:p15="http://schemas.microsoft.com/office/powerpoint/2012/main" userId="S::pedrrodriguez@deloitte.com::3eb00f21-a08e-44d4-99c0-890002377650" providerId="AD"/>
      </p:ext>
    </p:extLst>
  </p:cmAuthor>
  <p:cmAuthor id="34" name="Pam Hatcher" initials="PH" lastIdx="1" clrIdx="33">
    <p:extLst>
      <p:ext uri="{19B8F6BF-5375-455C-9EA6-DF929625EA0E}">
        <p15:presenceInfo xmlns:p15="http://schemas.microsoft.com/office/powerpoint/2012/main" userId="Pam Hatcher" providerId="None"/>
      </p:ext>
    </p:extLst>
  </p:cmAuthor>
  <p:cmAuthor id="6" name="Harris, Amanda" initials="HA" lastIdx="217" clrIdx="5">
    <p:extLst>
      <p:ext uri="{19B8F6BF-5375-455C-9EA6-DF929625EA0E}">
        <p15:presenceInfo xmlns:p15="http://schemas.microsoft.com/office/powerpoint/2012/main" userId="S::amaharris@deloitte.com::57cfbdd2-db3e-4bd6-9ea2-8f7d91315d7e" providerId="AD"/>
      </p:ext>
    </p:extLst>
  </p:cmAuthor>
  <p:cmAuthor id="7" name="Pereira-Chakka, Ramona" initials="PR" lastIdx="4" clrIdx="6">
    <p:extLst>
      <p:ext uri="{19B8F6BF-5375-455C-9EA6-DF929625EA0E}">
        <p15:presenceInfo xmlns:p15="http://schemas.microsoft.com/office/powerpoint/2012/main" userId="S::rampereira@deloitte.com::3812594b-a298-4e85-84b7-6f9d5a445cbb" providerId="AD"/>
      </p:ext>
    </p:extLst>
  </p:cmAuthor>
  <p:cmAuthor id="8" name="Torres-Carlo, Walter G." initials="TWG" lastIdx="23" clrIdx="7">
    <p:extLst>
      <p:ext uri="{19B8F6BF-5375-455C-9EA6-DF929625EA0E}">
        <p15:presenceInfo xmlns:p15="http://schemas.microsoft.com/office/powerpoint/2012/main" userId="S::wtorrescarlo@deloitte.com::dc2d89b4-a220-4879-8106-2224a853e506" providerId="AD"/>
      </p:ext>
    </p:extLst>
  </p:cmAuthor>
  <p:cmAuthor id="9" name="Kailer, Kandice" initials="KK" lastIdx="120" clrIdx="8">
    <p:extLst>
      <p:ext uri="{19B8F6BF-5375-455C-9EA6-DF929625EA0E}">
        <p15:presenceInfo xmlns:p15="http://schemas.microsoft.com/office/powerpoint/2012/main" userId="S::kkailer@deloitte.com::05647872-e4fa-4957-abf1-d0e06ecc44e4" providerId="AD"/>
      </p:ext>
    </p:extLst>
  </p:cmAuthor>
  <p:cmAuthor id="10" name="Ramsey, Nichole Marie" initials="RNM" lastIdx="4" clrIdx="9">
    <p:extLst>
      <p:ext uri="{19B8F6BF-5375-455C-9EA6-DF929625EA0E}">
        <p15:presenceInfo xmlns:p15="http://schemas.microsoft.com/office/powerpoint/2012/main" userId="S::nramsey@deloitte.com::94f9fbfc-4807-47c9-a508-b30d8e47c714" providerId="AD"/>
      </p:ext>
    </p:extLst>
  </p:cmAuthor>
  <p:cmAuthor id="11" name="Brandt, Jon" initials="BJ" lastIdx="6" clrIdx="10">
    <p:extLst>
      <p:ext uri="{19B8F6BF-5375-455C-9EA6-DF929625EA0E}">
        <p15:presenceInfo xmlns:p15="http://schemas.microsoft.com/office/powerpoint/2012/main" userId="S::jonbrandt@deloitte.com::31e27ec9-7441-4ee8-904e-c14d2317b00d" providerId="AD"/>
      </p:ext>
    </p:extLst>
  </p:cmAuthor>
  <p:cmAuthor id="12" name="Popowich, Amina M" initials="PAM" lastIdx="5" clrIdx="11">
    <p:extLst>
      <p:ext uri="{19B8F6BF-5375-455C-9EA6-DF929625EA0E}">
        <p15:presenceInfo xmlns:p15="http://schemas.microsoft.com/office/powerpoint/2012/main" userId="S::apopowich@deloitte.com::2a8776fb-ed6c-481e-9453-a9f6a7581bdd" providerId="AD"/>
      </p:ext>
    </p:extLst>
  </p:cmAuthor>
  <p:cmAuthor id="13" name="Tito Torres" initials="TT" lastIdx="9" clrIdx="12">
    <p:extLst>
      <p:ext uri="{19B8F6BF-5375-455C-9EA6-DF929625EA0E}">
        <p15:presenceInfo xmlns:p15="http://schemas.microsoft.com/office/powerpoint/2012/main" userId="Tito Torres" providerId="None"/>
      </p:ext>
    </p:extLst>
  </p:cmAuthor>
  <p:cmAuthor id="14" name="Micancin, Joseph" initials="MJ" lastIdx="99" clrIdx="13">
    <p:extLst>
      <p:ext uri="{19B8F6BF-5375-455C-9EA6-DF929625EA0E}">
        <p15:presenceInfo xmlns:p15="http://schemas.microsoft.com/office/powerpoint/2012/main" userId="S::jmicancin@deloitte.com::fd5beb6a-e4f9-45f2-be4b-ec8794ec1d80" providerId="AD"/>
      </p:ext>
    </p:extLst>
  </p:cmAuthor>
  <p:cmAuthor id="15" name="Patricia Dawn Hart" initials="PDH" lastIdx="10" clrIdx="14">
    <p:extLst>
      <p:ext uri="{19B8F6BF-5375-455C-9EA6-DF929625EA0E}">
        <p15:presenceInfo xmlns:p15="http://schemas.microsoft.com/office/powerpoint/2012/main" userId="S::pahart@deloitte.com::c4e8f151-1250-410b-a497-d768f9cb05ad" providerId="AD"/>
      </p:ext>
    </p:extLst>
  </p:cmAuthor>
  <p:cmAuthor id="16" name="Guachichulca, Harley" initials="GH" lastIdx="20" clrIdx="15">
    <p:extLst>
      <p:ext uri="{19B8F6BF-5375-455C-9EA6-DF929625EA0E}">
        <p15:presenceInfo xmlns:p15="http://schemas.microsoft.com/office/powerpoint/2012/main" userId="S::hguachichulca@deloitte.com::f9b57868-22a4-40cb-b1ec-b569c8d9b079" providerId="AD"/>
      </p:ext>
    </p:extLst>
  </p:cmAuthor>
  <p:cmAuthor id="17" name="John M" initials="JM" lastIdx="3" clrIdx="16">
    <p:extLst>
      <p:ext uri="{19B8F6BF-5375-455C-9EA6-DF929625EA0E}">
        <p15:presenceInfo xmlns:p15="http://schemas.microsoft.com/office/powerpoint/2012/main" userId="John M" providerId="None"/>
      </p:ext>
    </p:extLst>
  </p:cmAuthor>
  <p:cmAuthor id="18" name="Rizo, Pedro" initials="RP" lastIdx="34" clrIdx="17">
    <p:extLst>
      <p:ext uri="{19B8F6BF-5375-455C-9EA6-DF929625EA0E}">
        <p15:presenceInfo xmlns:p15="http://schemas.microsoft.com/office/powerpoint/2012/main" userId="S::prizo@deloitte.com::a5decb38-f9fe-47d1-ae32-da1bd973f20f" providerId="AD"/>
      </p:ext>
    </p:extLst>
  </p:cmAuthor>
  <p:cmAuthor id="19" name="Vondrum, Alex Daniel" initials="VAD" lastIdx="2" clrIdx="18">
    <p:extLst>
      <p:ext uri="{19B8F6BF-5375-455C-9EA6-DF929625EA0E}">
        <p15:presenceInfo xmlns:p15="http://schemas.microsoft.com/office/powerpoint/2012/main" userId="S::avondrum@deloitte.com::ea387339-dc8d-4b49-b1c5-3ffc46d8d25e" providerId="AD"/>
      </p:ext>
    </p:extLst>
  </p:cmAuthor>
  <p:cmAuthor id="20" name="St Clair, Meredith" initials="SCM" lastIdx="1" clrIdx="19">
    <p:extLst>
      <p:ext uri="{19B8F6BF-5375-455C-9EA6-DF929625EA0E}">
        <p15:presenceInfo xmlns:p15="http://schemas.microsoft.com/office/powerpoint/2012/main" userId="S::mestclair@deloitte.com::ceddc01a-fd0a-4c25-b7c4-d3e78c9d6b86" providerId="AD"/>
      </p:ext>
    </p:extLst>
  </p:cmAuthor>
  <p:cmAuthor id="21" name="Aguilera, Kyhara" initials="AK" lastIdx="18" clrIdx="20">
    <p:extLst>
      <p:ext uri="{19B8F6BF-5375-455C-9EA6-DF929625EA0E}">
        <p15:presenceInfo xmlns:p15="http://schemas.microsoft.com/office/powerpoint/2012/main" userId="S::kaguilera@deloitte.com::f254675a-2a60-4833-acde-0920173c6a15" providerId="AD"/>
      </p:ext>
    </p:extLst>
  </p:cmAuthor>
  <p:cmAuthor id="22" name="Schmied, Andrew" initials="SA" lastIdx="4" clrIdx="21">
    <p:extLst>
      <p:ext uri="{19B8F6BF-5375-455C-9EA6-DF929625EA0E}">
        <p15:presenceInfo xmlns:p15="http://schemas.microsoft.com/office/powerpoint/2012/main" userId="S::anschmied@deloitte.com::91dac52f-12ff-430a-a0b8-b417ca8d5134" providerId="AD"/>
      </p:ext>
    </p:extLst>
  </p:cmAuthor>
  <p:cmAuthor id="23" name="McInerney, John" initials="MJ" lastIdx="1" clrIdx="22">
    <p:extLst>
      <p:ext uri="{19B8F6BF-5375-455C-9EA6-DF929625EA0E}">
        <p15:presenceInfo xmlns:p15="http://schemas.microsoft.com/office/powerpoint/2012/main" userId="S::jomcinerney@deloitte.com::41d463ff-da89-4bf8-83eb-6fe6ac4a5c5e" providerId="AD"/>
      </p:ext>
    </p:extLst>
  </p:cmAuthor>
  <p:cmAuthor id="24" name="Kalbfell, Lauren" initials="KL" lastIdx="76" clrIdx="23">
    <p:extLst>
      <p:ext uri="{19B8F6BF-5375-455C-9EA6-DF929625EA0E}">
        <p15:presenceInfo xmlns:p15="http://schemas.microsoft.com/office/powerpoint/2012/main" userId="S::lkalbfell@deloitte.com::2097a349-34f8-4684-9274-b306de2f8d61" providerId="AD"/>
      </p:ext>
    </p:extLst>
  </p:cmAuthor>
  <p:cmAuthor id="25" name="Falk, Steph" initials="FS" lastIdx="2" clrIdx="24">
    <p:extLst>
      <p:ext uri="{19B8F6BF-5375-455C-9EA6-DF929625EA0E}">
        <p15:presenceInfo xmlns:p15="http://schemas.microsoft.com/office/powerpoint/2012/main" userId="S::sfalk@deloitte.com::1c29108f-b7c9-49c9-b608-aafc7f63db3c" providerId="AD"/>
      </p:ext>
    </p:extLst>
  </p:cmAuthor>
  <p:cmAuthor id="26" name="Kennedy, Hilary" initials="KH" lastIdx="85" clrIdx="25">
    <p:extLst>
      <p:ext uri="{19B8F6BF-5375-455C-9EA6-DF929625EA0E}">
        <p15:presenceInfo xmlns:p15="http://schemas.microsoft.com/office/powerpoint/2012/main" userId="S::hikennedy@deloitte.com::b51ff73e-7a2b-4fa5-8f45-7047ff8778b0" providerId="AD"/>
      </p:ext>
    </p:extLst>
  </p:cmAuthor>
  <p:cmAuthor id="27" name="Tito" initials="TT" lastIdx="1" clrIdx="26">
    <p:extLst>
      <p:ext uri="{19B8F6BF-5375-455C-9EA6-DF929625EA0E}">
        <p15:presenceInfo xmlns:p15="http://schemas.microsoft.com/office/powerpoint/2012/main" userId="Tito" providerId="None"/>
      </p:ext>
    </p:extLst>
  </p:cmAuthor>
  <p:cmAuthor id="28" name="Rome, Nyles" initials="RN" lastIdx="117" clrIdx="27">
    <p:extLst>
      <p:ext uri="{19B8F6BF-5375-455C-9EA6-DF929625EA0E}">
        <p15:presenceInfo xmlns:p15="http://schemas.microsoft.com/office/powerpoint/2012/main" userId="S::nyrome@deloitte.com::ec97b473-a93c-4504-b465-dfb52707726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A9DF"/>
    <a:srgbClr val="8F9FDC"/>
    <a:srgbClr val="0076B0"/>
    <a:srgbClr val="C7CFEE"/>
    <a:srgbClr val="004E75"/>
    <a:srgbClr val="5770CB"/>
    <a:srgbClr val="22326E"/>
    <a:srgbClr val="053688"/>
    <a:srgbClr val="009DEA"/>
    <a:srgbClr val="2E539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pos="3840"/>
        <p:guide orient="horz"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commentAuthors" Target="commentAuthors.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2BFA98EC-7F58-4395-A878-6A03DCA1CC29}" type="datetimeFigureOut">
              <a:rPr lang="en-US" smtClean="0"/>
              <a:t>7/6/2023</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77B535EF-C831-4AB4-BCFB-B5DD9BA66E14}" type="slidenum">
              <a:rPr lang="en-US" smtClean="0"/>
              <a:t>‹#›</a:t>
            </a:fld>
            <a:endParaRPr lang="en-US"/>
          </a:p>
        </p:txBody>
      </p:sp>
    </p:spTree>
    <p:extLst>
      <p:ext uri="{BB962C8B-B14F-4D97-AF65-F5344CB8AC3E}">
        <p14:creationId xmlns:p14="http://schemas.microsoft.com/office/powerpoint/2010/main" val="6348342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97958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42129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8156495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7026328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43409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21379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8609196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4216886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5112780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42050658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7552393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1293731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9890768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16369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42002947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endParaRPr lang="en-US">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25557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5128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4D5D69-FD11-4F30-914A-180CECF3E3F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C0339A1-BA11-46F2-9D2C-F802E90010B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F883DA2-C6A3-4C9F-86FC-E6AF8CAA9486}"/>
              </a:ext>
            </a:extLst>
          </p:cNvPr>
          <p:cNvSpPr>
            <a:spLocks noGrp="1"/>
          </p:cNvSpPr>
          <p:nvPr>
            <p:ph type="dt" sz="half" idx="10"/>
          </p:nvPr>
        </p:nvSpPr>
        <p:spPr/>
        <p:txBody>
          <a:bodyPr/>
          <a:lstStyle/>
          <a:p>
            <a:fld id="{5031F1E8-EF51-4A63-AA95-54B1BF6B3EE4}" type="datetimeFigureOut">
              <a:rPr lang="en-US" smtClean="0"/>
              <a:t>7/6/2023</a:t>
            </a:fld>
            <a:endParaRPr lang="en-US"/>
          </a:p>
        </p:txBody>
      </p:sp>
      <p:sp>
        <p:nvSpPr>
          <p:cNvPr id="5" name="Footer Placeholder 4">
            <a:extLst>
              <a:ext uri="{FF2B5EF4-FFF2-40B4-BE49-F238E27FC236}">
                <a16:creationId xmlns:a16="http://schemas.microsoft.com/office/drawing/2014/main" id="{97F0C18A-3C41-440A-A545-E6825984B2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BE3130-A860-4FDD-87D7-3267ADB39B52}"/>
              </a:ext>
            </a:extLst>
          </p:cNvPr>
          <p:cNvSpPr>
            <a:spLocks noGrp="1"/>
          </p:cNvSpPr>
          <p:nvPr>
            <p:ph type="sldNum" sz="quarter" idx="12"/>
          </p:nvPr>
        </p:nvSpPr>
        <p:spPr/>
        <p:txBody>
          <a:bodyPr/>
          <a:lstStyle/>
          <a:p>
            <a:fld id="{AC746E64-7E2E-4904-9B11-ADCDD3191AF1}" type="slidenum">
              <a:rPr lang="en-US" smtClean="0"/>
              <a:t>‹#›</a:t>
            </a:fld>
            <a:endParaRPr lang="en-US"/>
          </a:p>
        </p:txBody>
      </p:sp>
    </p:spTree>
    <p:extLst>
      <p:ext uri="{BB962C8B-B14F-4D97-AF65-F5344CB8AC3E}">
        <p14:creationId xmlns:p14="http://schemas.microsoft.com/office/powerpoint/2010/main" val="649893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4D9B3F-1C65-4DE0-AC36-5727D81D7CF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7327FC8-3B15-4DE5-9BEF-8023FA759D8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238C25-CD53-4FC8-96EF-74F27ABB98EF}"/>
              </a:ext>
            </a:extLst>
          </p:cNvPr>
          <p:cNvSpPr>
            <a:spLocks noGrp="1"/>
          </p:cNvSpPr>
          <p:nvPr>
            <p:ph type="dt" sz="half" idx="10"/>
          </p:nvPr>
        </p:nvSpPr>
        <p:spPr/>
        <p:txBody>
          <a:bodyPr/>
          <a:lstStyle/>
          <a:p>
            <a:fld id="{5031F1E8-EF51-4A63-AA95-54B1BF6B3EE4}" type="datetimeFigureOut">
              <a:rPr lang="en-US" smtClean="0"/>
              <a:t>7/6/2023</a:t>
            </a:fld>
            <a:endParaRPr lang="en-US"/>
          </a:p>
        </p:txBody>
      </p:sp>
      <p:sp>
        <p:nvSpPr>
          <p:cNvPr id="5" name="Footer Placeholder 4">
            <a:extLst>
              <a:ext uri="{FF2B5EF4-FFF2-40B4-BE49-F238E27FC236}">
                <a16:creationId xmlns:a16="http://schemas.microsoft.com/office/drawing/2014/main" id="{43F1B9AA-CEC5-4DD6-AEF1-3C30D9FB2C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B61573-A2FF-417F-A9B2-24B91F85838D}"/>
              </a:ext>
            </a:extLst>
          </p:cNvPr>
          <p:cNvSpPr>
            <a:spLocks noGrp="1"/>
          </p:cNvSpPr>
          <p:nvPr>
            <p:ph type="sldNum" sz="quarter" idx="12"/>
          </p:nvPr>
        </p:nvSpPr>
        <p:spPr/>
        <p:txBody>
          <a:bodyPr/>
          <a:lstStyle/>
          <a:p>
            <a:fld id="{AC746E64-7E2E-4904-9B11-ADCDD3191AF1}" type="slidenum">
              <a:rPr lang="en-US" smtClean="0"/>
              <a:t>‹#›</a:t>
            </a:fld>
            <a:endParaRPr lang="en-US"/>
          </a:p>
        </p:txBody>
      </p:sp>
    </p:spTree>
    <p:extLst>
      <p:ext uri="{BB962C8B-B14F-4D97-AF65-F5344CB8AC3E}">
        <p14:creationId xmlns:p14="http://schemas.microsoft.com/office/powerpoint/2010/main" val="14339435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36AEE77-AB88-4534-830B-D3E18FA3AC0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1B6B1D1-E9D2-419B-AD09-05AC93A34D3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5256C6-5D6D-433B-B479-E4ABB08C1857}"/>
              </a:ext>
            </a:extLst>
          </p:cNvPr>
          <p:cNvSpPr>
            <a:spLocks noGrp="1"/>
          </p:cNvSpPr>
          <p:nvPr>
            <p:ph type="dt" sz="half" idx="10"/>
          </p:nvPr>
        </p:nvSpPr>
        <p:spPr/>
        <p:txBody>
          <a:bodyPr/>
          <a:lstStyle/>
          <a:p>
            <a:fld id="{5031F1E8-EF51-4A63-AA95-54B1BF6B3EE4}" type="datetimeFigureOut">
              <a:rPr lang="en-US" smtClean="0"/>
              <a:t>7/6/2023</a:t>
            </a:fld>
            <a:endParaRPr lang="en-US"/>
          </a:p>
        </p:txBody>
      </p:sp>
      <p:sp>
        <p:nvSpPr>
          <p:cNvPr id="5" name="Footer Placeholder 4">
            <a:extLst>
              <a:ext uri="{FF2B5EF4-FFF2-40B4-BE49-F238E27FC236}">
                <a16:creationId xmlns:a16="http://schemas.microsoft.com/office/drawing/2014/main" id="{98BC6292-7331-4FE7-B110-467AF59FFD9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CDBA1DB-C040-41FB-B8BC-D897979D3D00}"/>
              </a:ext>
            </a:extLst>
          </p:cNvPr>
          <p:cNvSpPr>
            <a:spLocks noGrp="1"/>
          </p:cNvSpPr>
          <p:nvPr>
            <p:ph type="sldNum" sz="quarter" idx="12"/>
          </p:nvPr>
        </p:nvSpPr>
        <p:spPr/>
        <p:txBody>
          <a:bodyPr/>
          <a:lstStyle/>
          <a:p>
            <a:fld id="{AC746E64-7E2E-4904-9B11-ADCDD3191AF1}" type="slidenum">
              <a:rPr lang="en-US" smtClean="0"/>
              <a:t>‹#›</a:t>
            </a:fld>
            <a:endParaRPr lang="en-US"/>
          </a:p>
        </p:txBody>
      </p:sp>
    </p:spTree>
    <p:extLst>
      <p:ext uri="{BB962C8B-B14F-4D97-AF65-F5344CB8AC3E}">
        <p14:creationId xmlns:p14="http://schemas.microsoft.com/office/powerpoint/2010/main" val="32437148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44840"/>
            <a:ext cx="10363200" cy="594360"/>
          </a:xfrm>
        </p:spPr>
        <p:txBody>
          <a:bodyPr vert="horz" lIns="0" tIns="45720" rIns="0" bIns="0" rtlCol="0" anchor="b" anchorCtr="0">
            <a:noAutofit/>
          </a:bodyPr>
          <a:lstStyle>
            <a:lvl1pPr>
              <a:defRPr lang="en-US" sz="3600" b="0" spc="-75" dirty="0">
                <a:latin typeface="+mn-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41044395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41156"/>
            <a:ext cx="10363200" cy="594360"/>
          </a:xfrm>
        </p:spPr>
        <p:txBody>
          <a:bodyPr vert="horz" lIns="0" tIns="45720" rIns="0" bIns="0" rtlCol="0" anchor="b" anchorCtr="0">
            <a:noAutofit/>
          </a:bodyPr>
          <a:lstStyle>
            <a:lvl1pPr>
              <a:defRPr lang="en-US" sz="3600" spc="-75" dirty="0">
                <a:latin typeface="+mn-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00" baseline="0" dirty="0">
                <a:solidFill>
                  <a:schemeClr val="bg2">
                    <a:lumMod val="90000"/>
                  </a:schemeClr>
                </a:solidFill>
                <a:ea typeface="Nexa Black" charset="0"/>
                <a:cs typeface="Nexa Black" charset="0"/>
              </a:defRPr>
            </a:lvl1pPr>
          </a:lstStyle>
          <a:p>
            <a:pPr marL="228600" lvl="0" indent="-228600"/>
            <a:r>
              <a:rPr lang="en-US"/>
              <a:t>Topic</a:t>
            </a:r>
          </a:p>
        </p:txBody>
      </p:sp>
      <p:grpSp>
        <p:nvGrpSpPr>
          <p:cNvPr id="5" name="Group 4">
            <a:extLst>
              <a:ext uri="{FF2B5EF4-FFF2-40B4-BE49-F238E27FC236}">
                <a16:creationId xmlns:a16="http://schemas.microsoft.com/office/drawing/2014/main" id="{AAAD16CF-7230-46F3-A380-8BD28E77ECDD}"/>
              </a:ext>
            </a:extLst>
          </p:cNvPr>
          <p:cNvGrpSpPr/>
          <p:nvPr userDrawn="1"/>
        </p:nvGrpSpPr>
        <p:grpSpPr>
          <a:xfrm>
            <a:off x="-11703" y="-3628"/>
            <a:ext cx="75101" cy="6861628"/>
            <a:chOff x="-11703" y="-3628"/>
            <a:chExt cx="75101" cy="6861628"/>
          </a:xfrm>
        </p:grpSpPr>
        <p:sp>
          <p:nvSpPr>
            <p:cNvPr id="6" name="Rectangle 5">
              <a:extLst>
                <a:ext uri="{FF2B5EF4-FFF2-40B4-BE49-F238E27FC236}">
                  <a16:creationId xmlns:a16="http://schemas.microsoft.com/office/drawing/2014/main" id="{64E06EF6-8FDC-4312-BA2C-04184985C420}"/>
                </a:ext>
              </a:extLst>
            </p:cNvPr>
            <p:cNvSpPr/>
            <p:nvPr/>
          </p:nvSpPr>
          <p:spPr>
            <a:xfrm rot="5400000">
              <a:off x="-659267"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F563975-8BC5-4F71-B901-884B6E7BFEDB}"/>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17B6188-BAC4-4F77-90FB-927733CD355D}"/>
                </a:ext>
              </a:extLst>
            </p:cNvPr>
            <p:cNvSpPr/>
            <p:nvPr/>
          </p:nvSpPr>
          <p:spPr>
            <a:xfrm rot="5400000">
              <a:off x="-659267"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DF3F3E1-9508-4511-BC9E-9DFE26F83FCD}"/>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9C7E4AC-A533-4AB5-A83C-3A09189367B7}"/>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745622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41156"/>
            <a:ext cx="10363200" cy="594360"/>
          </a:xfrm>
        </p:spPr>
        <p:txBody>
          <a:bodyPr vert="horz" lIns="0" tIns="45720" rIns="0" bIns="0" rtlCol="0" anchor="b" anchorCtr="0">
            <a:noAutofit/>
          </a:bodyPr>
          <a:lstStyle>
            <a:lvl1pPr>
              <a:defRPr lang="en-US" sz="3600" spc="-75" dirty="0">
                <a:latin typeface="+mn-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00" baseline="0" dirty="0">
                <a:solidFill>
                  <a:schemeClr val="bg2">
                    <a:lumMod val="90000"/>
                  </a:schemeClr>
                </a:solidFill>
                <a:ea typeface="Nexa Black" charset="0"/>
                <a:cs typeface="Nexa Black" charset="0"/>
              </a:defRPr>
            </a:lvl1pPr>
          </a:lstStyle>
          <a:p>
            <a:pPr marL="228600" lvl="0" indent="-228600"/>
            <a:r>
              <a:rPr lang="en-US"/>
              <a:t>Topic</a:t>
            </a:r>
          </a:p>
        </p:txBody>
      </p:sp>
      <p:cxnSp>
        <p:nvCxnSpPr>
          <p:cNvPr id="6" name="Straight Connector 5">
            <a:extLst>
              <a:ext uri="{FF2B5EF4-FFF2-40B4-BE49-F238E27FC236}">
                <a16:creationId xmlns:a16="http://schemas.microsoft.com/office/drawing/2014/main" id="{0BCDC660-E802-7A4B-86A9-C2A73790A2D3}"/>
              </a:ext>
            </a:extLst>
          </p:cNvPr>
          <p:cNvCxnSpPr>
            <a:cxnSpLocks/>
          </p:cNvCxnSpPr>
          <p:nvPr userDrawn="1"/>
        </p:nvCxnSpPr>
        <p:spPr>
          <a:xfrm flipV="1">
            <a:off x="8078826" y="3702246"/>
            <a:ext cx="3198774" cy="1"/>
          </a:xfrm>
          <a:prstGeom prst="line">
            <a:avLst/>
          </a:prstGeom>
          <a:ln w="57150" cmpd="sng">
            <a:solidFill>
              <a:schemeClr val="bg2"/>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C7CDB601-5FFB-B243-A5A6-B8C0200B8F0F}"/>
              </a:ext>
            </a:extLst>
          </p:cNvPr>
          <p:cNvCxnSpPr>
            <a:cxnSpLocks/>
          </p:cNvCxnSpPr>
          <p:nvPr userDrawn="1"/>
        </p:nvCxnSpPr>
        <p:spPr>
          <a:xfrm flipV="1">
            <a:off x="4489494" y="3702246"/>
            <a:ext cx="3198774" cy="1"/>
          </a:xfrm>
          <a:prstGeom prst="line">
            <a:avLst/>
          </a:prstGeom>
          <a:ln w="57150" cmpd="sng">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320B7D9F-A701-8D47-AD68-C017E47AD6EE}"/>
              </a:ext>
            </a:extLst>
          </p:cNvPr>
          <p:cNvCxnSpPr>
            <a:cxnSpLocks/>
          </p:cNvCxnSpPr>
          <p:nvPr userDrawn="1"/>
        </p:nvCxnSpPr>
        <p:spPr>
          <a:xfrm flipV="1">
            <a:off x="900162" y="3702246"/>
            <a:ext cx="3198774" cy="1"/>
          </a:xfrm>
          <a:prstGeom prst="line">
            <a:avLst/>
          </a:prstGeom>
          <a:ln w="57150" cmpd="sng">
            <a:solidFill>
              <a:schemeClr val="bg2"/>
            </a:solidFill>
          </a:ln>
        </p:spPr>
        <p:style>
          <a:lnRef idx="2">
            <a:schemeClr val="accent1"/>
          </a:lnRef>
          <a:fillRef idx="0">
            <a:schemeClr val="accent1"/>
          </a:fillRef>
          <a:effectRef idx="1">
            <a:schemeClr val="accent1"/>
          </a:effectRef>
          <a:fontRef idx="minor">
            <a:schemeClr val="tx1"/>
          </a:fontRef>
        </p:style>
      </p:cxnSp>
      <p:sp>
        <p:nvSpPr>
          <p:cNvPr id="12" name="Picture Placeholder 11">
            <a:extLst>
              <a:ext uri="{FF2B5EF4-FFF2-40B4-BE49-F238E27FC236}">
                <a16:creationId xmlns:a16="http://schemas.microsoft.com/office/drawing/2014/main" id="{D8A4ADAB-4BE3-BE45-B188-0821B614D0CE}"/>
              </a:ext>
            </a:extLst>
          </p:cNvPr>
          <p:cNvSpPr>
            <a:spLocks noGrp="1"/>
          </p:cNvSpPr>
          <p:nvPr>
            <p:ph type="pic" sz="quarter" idx="16"/>
          </p:nvPr>
        </p:nvSpPr>
        <p:spPr>
          <a:xfrm>
            <a:off x="914400" y="1946596"/>
            <a:ext cx="3184525" cy="1623039"/>
          </a:xfrm>
        </p:spPr>
        <p:txBody>
          <a:bodyPr/>
          <a:lstStyle>
            <a:lvl1pPr marL="0" indent="0">
              <a:buNone/>
              <a:defRPr sz="1400"/>
            </a:lvl1pPr>
          </a:lstStyle>
          <a:p>
            <a:endParaRPr lang="en-US"/>
          </a:p>
        </p:txBody>
      </p:sp>
      <p:sp>
        <p:nvSpPr>
          <p:cNvPr id="13" name="Picture Placeholder 11">
            <a:extLst>
              <a:ext uri="{FF2B5EF4-FFF2-40B4-BE49-F238E27FC236}">
                <a16:creationId xmlns:a16="http://schemas.microsoft.com/office/drawing/2014/main" id="{13CDE273-9F67-CB42-8A9E-9A1B05B261CB}"/>
              </a:ext>
            </a:extLst>
          </p:cNvPr>
          <p:cNvSpPr>
            <a:spLocks noGrp="1"/>
          </p:cNvSpPr>
          <p:nvPr>
            <p:ph type="pic" sz="quarter" idx="17"/>
          </p:nvPr>
        </p:nvSpPr>
        <p:spPr>
          <a:xfrm>
            <a:off x="4484318" y="1946596"/>
            <a:ext cx="3184525" cy="1623039"/>
          </a:xfrm>
        </p:spPr>
        <p:txBody>
          <a:bodyPr/>
          <a:lstStyle>
            <a:lvl1pPr marL="0" indent="0">
              <a:buNone/>
              <a:defRPr sz="1400"/>
            </a:lvl1pPr>
          </a:lstStyle>
          <a:p>
            <a:endParaRPr lang="en-US"/>
          </a:p>
        </p:txBody>
      </p:sp>
      <p:sp>
        <p:nvSpPr>
          <p:cNvPr id="14" name="Picture Placeholder 11">
            <a:extLst>
              <a:ext uri="{FF2B5EF4-FFF2-40B4-BE49-F238E27FC236}">
                <a16:creationId xmlns:a16="http://schemas.microsoft.com/office/drawing/2014/main" id="{0C98E0F5-772F-9A49-BE29-B55F5874333D}"/>
              </a:ext>
            </a:extLst>
          </p:cNvPr>
          <p:cNvSpPr>
            <a:spLocks noGrp="1"/>
          </p:cNvSpPr>
          <p:nvPr>
            <p:ph type="pic" sz="quarter" idx="18"/>
          </p:nvPr>
        </p:nvSpPr>
        <p:spPr>
          <a:xfrm>
            <a:off x="8091814" y="1946596"/>
            <a:ext cx="3184525" cy="1623039"/>
          </a:xfrm>
        </p:spPr>
        <p:txBody>
          <a:bodyPr/>
          <a:lstStyle>
            <a:lvl1pPr marL="0" indent="0">
              <a:buNone/>
              <a:defRPr sz="1400"/>
            </a:lvl1pPr>
          </a:lstStyle>
          <a:p>
            <a:endParaRPr lang="en-US"/>
          </a:p>
        </p:txBody>
      </p:sp>
    </p:spTree>
    <p:extLst>
      <p:ext uri="{BB962C8B-B14F-4D97-AF65-F5344CB8AC3E}">
        <p14:creationId xmlns:p14="http://schemas.microsoft.com/office/powerpoint/2010/main" val="32803745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41156"/>
            <a:ext cx="10363200" cy="594360"/>
          </a:xfrm>
        </p:spPr>
        <p:txBody>
          <a:bodyPr vert="horz" lIns="0" tIns="45720" rIns="0" bIns="0" rtlCol="0" anchor="b" anchorCtr="0">
            <a:noAutofit/>
          </a:bodyPr>
          <a:lstStyle>
            <a:lvl1pPr>
              <a:defRPr lang="en-US" sz="3600" spc="-75" dirty="0">
                <a:latin typeface="+mn-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00" baseline="0" dirty="0">
                <a:solidFill>
                  <a:schemeClr val="bg2">
                    <a:lumMod val="90000"/>
                  </a:schemeClr>
                </a:solidFill>
                <a:ea typeface="Nexa Black" charset="0"/>
                <a:cs typeface="Nexa Black" charset="0"/>
              </a:defRPr>
            </a:lvl1pPr>
          </a:lstStyle>
          <a:p>
            <a:pPr marL="228600" lvl="0" indent="-228600"/>
            <a:r>
              <a:rPr lang="en-US"/>
              <a:t>Topic</a:t>
            </a:r>
          </a:p>
        </p:txBody>
      </p:sp>
      <p:cxnSp>
        <p:nvCxnSpPr>
          <p:cNvPr id="9" name="Straight Connector 8">
            <a:extLst>
              <a:ext uri="{FF2B5EF4-FFF2-40B4-BE49-F238E27FC236}">
                <a16:creationId xmlns:a16="http://schemas.microsoft.com/office/drawing/2014/main" id="{C7CDB601-5FFB-B243-A5A6-B8C0200B8F0F}"/>
              </a:ext>
            </a:extLst>
          </p:cNvPr>
          <p:cNvCxnSpPr>
            <a:cxnSpLocks/>
          </p:cNvCxnSpPr>
          <p:nvPr userDrawn="1"/>
        </p:nvCxnSpPr>
        <p:spPr>
          <a:xfrm flipV="1">
            <a:off x="6343346" y="5105160"/>
            <a:ext cx="4961531" cy="3"/>
          </a:xfrm>
          <a:prstGeom prst="line">
            <a:avLst/>
          </a:prstGeom>
          <a:ln w="57150" cmpd="sng">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320B7D9F-A701-8D47-AD68-C017E47AD6EE}"/>
              </a:ext>
            </a:extLst>
          </p:cNvPr>
          <p:cNvCxnSpPr>
            <a:cxnSpLocks/>
          </p:cNvCxnSpPr>
          <p:nvPr userDrawn="1"/>
        </p:nvCxnSpPr>
        <p:spPr>
          <a:xfrm flipV="1">
            <a:off x="900162" y="5105160"/>
            <a:ext cx="4961531" cy="3"/>
          </a:xfrm>
          <a:prstGeom prst="line">
            <a:avLst/>
          </a:prstGeom>
          <a:ln w="57150" cmpd="sng">
            <a:solidFill>
              <a:schemeClr val="bg2"/>
            </a:solidFill>
          </a:ln>
        </p:spPr>
        <p:style>
          <a:lnRef idx="2">
            <a:schemeClr val="accent1"/>
          </a:lnRef>
          <a:fillRef idx="0">
            <a:schemeClr val="accent1"/>
          </a:fillRef>
          <a:effectRef idx="1">
            <a:schemeClr val="accent1"/>
          </a:effectRef>
          <a:fontRef idx="minor">
            <a:schemeClr val="tx1"/>
          </a:fontRef>
        </p:style>
      </p:cxnSp>
      <p:sp>
        <p:nvSpPr>
          <p:cNvPr id="12" name="Picture Placeholder 11">
            <a:extLst>
              <a:ext uri="{FF2B5EF4-FFF2-40B4-BE49-F238E27FC236}">
                <a16:creationId xmlns:a16="http://schemas.microsoft.com/office/drawing/2014/main" id="{D8A4ADAB-4BE3-BE45-B188-0821B614D0CE}"/>
              </a:ext>
            </a:extLst>
          </p:cNvPr>
          <p:cNvSpPr>
            <a:spLocks noGrp="1"/>
          </p:cNvSpPr>
          <p:nvPr>
            <p:ph type="pic" sz="quarter" idx="16"/>
          </p:nvPr>
        </p:nvSpPr>
        <p:spPr>
          <a:xfrm>
            <a:off x="914400" y="1946596"/>
            <a:ext cx="4939430" cy="3025955"/>
          </a:xfrm>
        </p:spPr>
        <p:txBody>
          <a:bodyPr/>
          <a:lstStyle>
            <a:lvl1pPr marL="0" indent="0">
              <a:buNone/>
              <a:defRPr sz="1400"/>
            </a:lvl1pPr>
          </a:lstStyle>
          <a:p>
            <a:endParaRPr lang="en-US"/>
          </a:p>
        </p:txBody>
      </p:sp>
      <p:sp>
        <p:nvSpPr>
          <p:cNvPr id="13" name="Picture Placeholder 11">
            <a:extLst>
              <a:ext uri="{FF2B5EF4-FFF2-40B4-BE49-F238E27FC236}">
                <a16:creationId xmlns:a16="http://schemas.microsoft.com/office/drawing/2014/main" id="{13CDE273-9F67-CB42-8A9E-9A1B05B261CB}"/>
              </a:ext>
            </a:extLst>
          </p:cNvPr>
          <p:cNvSpPr>
            <a:spLocks noGrp="1"/>
          </p:cNvSpPr>
          <p:nvPr>
            <p:ph type="pic" sz="quarter" idx="17"/>
          </p:nvPr>
        </p:nvSpPr>
        <p:spPr>
          <a:xfrm>
            <a:off x="6338170" y="1946596"/>
            <a:ext cx="4939430" cy="3025955"/>
          </a:xfrm>
        </p:spPr>
        <p:txBody>
          <a:bodyPr/>
          <a:lstStyle>
            <a:lvl1pPr marL="0" indent="0">
              <a:buNone/>
              <a:defRPr sz="1400"/>
            </a:lvl1pPr>
          </a:lstStyle>
          <a:p>
            <a:endParaRPr lang="en-US"/>
          </a:p>
        </p:txBody>
      </p:sp>
    </p:spTree>
    <p:extLst>
      <p:ext uri="{BB962C8B-B14F-4D97-AF65-F5344CB8AC3E}">
        <p14:creationId xmlns:p14="http://schemas.microsoft.com/office/powerpoint/2010/main" val="476216322"/>
      </p:ext>
    </p:extLst>
  </p:cSld>
  <p:clrMapOvr>
    <a:masterClrMapping/>
  </p:clrMapOvr>
  <p:extLst>
    <p:ext uri="{DCECCB84-F9BA-43D5-87BE-67443E8EF086}">
      <p15:sldGuideLst xmlns:p15="http://schemas.microsoft.com/office/powerpoint/2012/main">
        <p15:guide id="1" pos="3840">
          <p15:clr>
            <a:srgbClr val="FBAE40"/>
          </p15:clr>
        </p15:guide>
        <p15:guide id="2" orient="horz" pos="151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399" y="737437"/>
            <a:ext cx="3355975" cy="1995802"/>
          </a:xfrm>
        </p:spPr>
        <p:txBody>
          <a:bodyPr vert="horz" lIns="0" tIns="45720" rIns="0" bIns="0" rtlCol="0" anchor="t" anchorCtr="0">
            <a:noAutofit/>
          </a:bodyPr>
          <a:lstStyle>
            <a:lvl1pPr>
              <a:defRPr lang="en-US" sz="3600" spc="-75" dirty="0">
                <a:latin typeface="+mn-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675965"/>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599712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737437"/>
            <a:ext cx="3352800" cy="1993390"/>
          </a:xfrm>
        </p:spPr>
        <p:txBody>
          <a:bodyPr vert="horz" lIns="0" tIns="45720" rIns="0" bIns="0" rtlCol="0" anchor="t" anchorCtr="0">
            <a:noAutofit/>
          </a:bodyPr>
          <a:lstStyle>
            <a:lvl1pPr>
              <a:defRPr lang="en-US" sz="3600" spc="-75" dirty="0">
                <a:latin typeface="+mn-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00" baseline="0" dirty="0">
                <a:solidFill>
                  <a:schemeClr val="bg2">
                    <a:lumMod val="90000"/>
                  </a:schemeClr>
                </a:solidFill>
                <a:ea typeface="Nexa Black" charset="0"/>
                <a:cs typeface="Nexa Black" charset="0"/>
              </a:defRPr>
            </a:lvl1pPr>
          </a:lstStyle>
          <a:p>
            <a:pPr marL="228600" lvl="0" indent="-228600"/>
            <a:r>
              <a:rPr lang="en-US"/>
              <a:t>Topic</a:t>
            </a:r>
          </a:p>
        </p:txBody>
      </p:sp>
      <p:sp>
        <p:nvSpPr>
          <p:cNvPr id="5" name="Text Placeholder 4"/>
          <p:cNvSpPr>
            <a:spLocks noGrp="1"/>
          </p:cNvSpPr>
          <p:nvPr>
            <p:ph type="body" sz="quarter" idx="16" hasCustomPrompt="1"/>
          </p:nvPr>
        </p:nvSpPr>
        <p:spPr>
          <a:xfrm>
            <a:off x="914400" y="2675965"/>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7208700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737437"/>
            <a:ext cx="3352800" cy="1993390"/>
          </a:xfrm>
        </p:spPr>
        <p:txBody>
          <a:bodyPr vert="horz" lIns="0" tIns="45720" rIns="0" bIns="0" rtlCol="0" anchor="t" anchorCtr="0">
            <a:noAutofit/>
          </a:bodyPr>
          <a:lstStyle>
            <a:lvl1pPr>
              <a:defRPr lang="en-US" sz="3600" spc="-75" dirty="0">
                <a:latin typeface="+mn-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00" baseline="0" dirty="0">
                <a:solidFill>
                  <a:schemeClr val="bg2">
                    <a:lumMod val="90000"/>
                  </a:schemeClr>
                </a:solidFill>
                <a:ea typeface="Nexa Black" charset="0"/>
                <a:cs typeface="Nexa Black" charset="0"/>
              </a:defRPr>
            </a:lvl1pPr>
          </a:lstStyle>
          <a:p>
            <a:pPr marL="228600" lvl="0" indent="-228600"/>
            <a:r>
              <a:rPr lang="en-US"/>
              <a:t>Topic</a:t>
            </a:r>
          </a:p>
        </p:txBody>
      </p:sp>
      <p:sp>
        <p:nvSpPr>
          <p:cNvPr id="5" name="Text Placeholder 4"/>
          <p:cNvSpPr>
            <a:spLocks noGrp="1"/>
          </p:cNvSpPr>
          <p:nvPr>
            <p:ph type="body" sz="quarter" idx="16" hasCustomPrompt="1"/>
          </p:nvPr>
        </p:nvSpPr>
        <p:spPr>
          <a:xfrm>
            <a:off x="914400" y="2662518"/>
            <a:ext cx="3355975" cy="1169988"/>
          </a:xfrm>
        </p:spPr>
        <p:txBody>
          <a:bodyPr/>
          <a:lstStyle>
            <a:lvl1pPr marL="0" indent="0">
              <a:lnSpc>
                <a:spcPct val="130000"/>
              </a:lnSpc>
              <a:buNone/>
              <a:defRPr sz="1200" baseline="0"/>
            </a:lvl1pPr>
          </a:lstStyle>
          <a:p>
            <a:pPr lvl="0"/>
            <a:r>
              <a:rPr lang="en-US"/>
              <a:t>Click to edit Master text styles</a:t>
            </a:r>
          </a:p>
        </p:txBody>
      </p:sp>
      <p:sp>
        <p:nvSpPr>
          <p:cNvPr id="9" name="Picture Placeholder 1">
            <a:extLst>
              <a:ext uri="{FF2B5EF4-FFF2-40B4-BE49-F238E27FC236}">
                <a16:creationId xmlns:a16="http://schemas.microsoft.com/office/drawing/2014/main" id="{9A78AB07-84F1-4840-9342-D92F7AFBBC46}"/>
              </a:ext>
            </a:extLst>
          </p:cNvPr>
          <p:cNvSpPr>
            <a:spLocks noGrp="1"/>
          </p:cNvSpPr>
          <p:nvPr>
            <p:ph type="pic" sz="quarter" idx="18"/>
          </p:nvPr>
        </p:nvSpPr>
        <p:spPr>
          <a:xfrm>
            <a:off x="5410200" y="1104900"/>
            <a:ext cx="1679369" cy="1341417"/>
          </a:xfrm>
        </p:spPr>
      </p:sp>
      <p:sp>
        <p:nvSpPr>
          <p:cNvPr id="10" name="Picture Placeholder 1">
            <a:extLst>
              <a:ext uri="{FF2B5EF4-FFF2-40B4-BE49-F238E27FC236}">
                <a16:creationId xmlns:a16="http://schemas.microsoft.com/office/drawing/2014/main" id="{A6418CF8-ABDB-254E-ADDF-7733E2BF2402}"/>
              </a:ext>
            </a:extLst>
          </p:cNvPr>
          <p:cNvSpPr>
            <a:spLocks noGrp="1"/>
          </p:cNvSpPr>
          <p:nvPr>
            <p:ph type="pic" sz="quarter" idx="19"/>
          </p:nvPr>
        </p:nvSpPr>
        <p:spPr>
          <a:xfrm>
            <a:off x="5410200" y="2785260"/>
            <a:ext cx="1679369" cy="1341417"/>
          </a:xfrm>
        </p:spPr>
      </p:sp>
      <p:sp>
        <p:nvSpPr>
          <p:cNvPr id="11" name="Picture Placeholder 1">
            <a:extLst>
              <a:ext uri="{FF2B5EF4-FFF2-40B4-BE49-F238E27FC236}">
                <a16:creationId xmlns:a16="http://schemas.microsoft.com/office/drawing/2014/main" id="{2342E74E-2590-0143-99DC-6A21BEF920E0}"/>
              </a:ext>
            </a:extLst>
          </p:cNvPr>
          <p:cNvSpPr>
            <a:spLocks noGrp="1"/>
          </p:cNvSpPr>
          <p:nvPr>
            <p:ph type="pic" sz="quarter" idx="20"/>
          </p:nvPr>
        </p:nvSpPr>
        <p:spPr>
          <a:xfrm>
            <a:off x="5410200" y="4465619"/>
            <a:ext cx="1679369" cy="1341417"/>
          </a:xfrm>
        </p:spPr>
      </p:sp>
    </p:spTree>
    <p:extLst>
      <p:ext uri="{BB962C8B-B14F-4D97-AF65-F5344CB8AC3E}">
        <p14:creationId xmlns:p14="http://schemas.microsoft.com/office/powerpoint/2010/main" val="7574908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737437"/>
            <a:ext cx="3352800" cy="1993390"/>
          </a:xfrm>
        </p:spPr>
        <p:txBody>
          <a:bodyPr vert="horz" lIns="0" tIns="45720" rIns="0" bIns="0" rtlCol="0" anchor="t" anchorCtr="0">
            <a:noAutofit/>
          </a:bodyPr>
          <a:lstStyle>
            <a:lvl1pPr>
              <a:defRPr lang="en-US" sz="3600" spc="-75" dirty="0">
                <a:latin typeface="+mn-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00" baseline="0" dirty="0">
                <a:solidFill>
                  <a:schemeClr val="bg2">
                    <a:lumMod val="90000"/>
                  </a:schemeClr>
                </a:solidFill>
                <a:ea typeface="Nexa Black" charset="0"/>
                <a:cs typeface="Nexa Black" charset="0"/>
              </a:defRPr>
            </a:lvl1pPr>
          </a:lstStyle>
          <a:p>
            <a:pPr marL="228600" lvl="0" indent="-228600"/>
            <a:r>
              <a:rPr lang="en-US"/>
              <a:t>Topic</a:t>
            </a:r>
          </a:p>
        </p:txBody>
      </p:sp>
      <p:sp>
        <p:nvSpPr>
          <p:cNvPr id="5" name="Text Placeholder 4"/>
          <p:cNvSpPr>
            <a:spLocks noGrp="1"/>
          </p:cNvSpPr>
          <p:nvPr>
            <p:ph type="body" sz="quarter" idx="16" hasCustomPrompt="1"/>
          </p:nvPr>
        </p:nvSpPr>
        <p:spPr>
          <a:xfrm>
            <a:off x="914400" y="2662518"/>
            <a:ext cx="3355975" cy="1169988"/>
          </a:xfrm>
        </p:spPr>
        <p:txBody>
          <a:bodyPr/>
          <a:lstStyle>
            <a:lvl1pPr marL="0" indent="0">
              <a:lnSpc>
                <a:spcPct val="130000"/>
              </a:lnSpc>
              <a:buNone/>
              <a:defRPr sz="1200" baseline="0"/>
            </a:lvl1pPr>
          </a:lstStyle>
          <a:p>
            <a:pPr lvl="0"/>
            <a:r>
              <a:rPr lang="en-US"/>
              <a:t>Click to edit Master text styles</a:t>
            </a:r>
          </a:p>
        </p:txBody>
      </p:sp>
      <p:sp>
        <p:nvSpPr>
          <p:cNvPr id="14" name="Picture Placeholder 13">
            <a:extLst>
              <a:ext uri="{FF2B5EF4-FFF2-40B4-BE49-F238E27FC236}">
                <a16:creationId xmlns:a16="http://schemas.microsoft.com/office/drawing/2014/main" id="{17183856-EC12-AA46-8F08-FD8C2ADD4159}"/>
              </a:ext>
            </a:extLst>
          </p:cNvPr>
          <p:cNvSpPr>
            <a:spLocks noGrp="1"/>
          </p:cNvSpPr>
          <p:nvPr>
            <p:ph type="pic" sz="quarter" idx="17"/>
          </p:nvPr>
        </p:nvSpPr>
        <p:spPr>
          <a:xfrm>
            <a:off x="5399088" y="1104900"/>
            <a:ext cx="5878512" cy="4995863"/>
          </a:xfrm>
        </p:spPr>
        <p:txBody>
          <a:bodyPr/>
          <a:lstStyle>
            <a:lvl1pPr marL="0" indent="0">
              <a:buNone/>
              <a:defRPr/>
            </a:lvl1pPr>
          </a:lstStyle>
          <a:p>
            <a:endParaRPr lang="en-US"/>
          </a:p>
        </p:txBody>
      </p:sp>
    </p:spTree>
    <p:extLst>
      <p:ext uri="{BB962C8B-B14F-4D97-AF65-F5344CB8AC3E}">
        <p14:creationId xmlns:p14="http://schemas.microsoft.com/office/powerpoint/2010/main" val="31827971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75C5-4247-4F30-A588-5B42E96EB9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E7E7DBD-FF93-47D6-8B57-275895EEDE5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00746AC-6149-4BB0-860D-3809D8F70327}"/>
              </a:ext>
            </a:extLst>
          </p:cNvPr>
          <p:cNvSpPr>
            <a:spLocks noGrp="1"/>
          </p:cNvSpPr>
          <p:nvPr>
            <p:ph type="dt" sz="half" idx="10"/>
          </p:nvPr>
        </p:nvSpPr>
        <p:spPr/>
        <p:txBody>
          <a:bodyPr/>
          <a:lstStyle/>
          <a:p>
            <a:fld id="{5031F1E8-EF51-4A63-AA95-54B1BF6B3EE4}" type="datetimeFigureOut">
              <a:rPr lang="en-US" smtClean="0"/>
              <a:t>7/6/2023</a:t>
            </a:fld>
            <a:endParaRPr lang="en-US"/>
          </a:p>
        </p:txBody>
      </p:sp>
      <p:sp>
        <p:nvSpPr>
          <p:cNvPr id="5" name="Footer Placeholder 4">
            <a:extLst>
              <a:ext uri="{FF2B5EF4-FFF2-40B4-BE49-F238E27FC236}">
                <a16:creationId xmlns:a16="http://schemas.microsoft.com/office/drawing/2014/main" id="{77C3BD5D-F2A2-46D2-AEBB-31D20957B2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90293E1-DB60-4A42-A83F-B8BCAF8975AF}"/>
              </a:ext>
            </a:extLst>
          </p:cNvPr>
          <p:cNvSpPr>
            <a:spLocks noGrp="1"/>
          </p:cNvSpPr>
          <p:nvPr>
            <p:ph type="sldNum" sz="quarter" idx="12"/>
          </p:nvPr>
        </p:nvSpPr>
        <p:spPr/>
        <p:txBody>
          <a:bodyPr/>
          <a:lstStyle/>
          <a:p>
            <a:fld id="{AC746E64-7E2E-4904-9B11-ADCDD3191AF1}" type="slidenum">
              <a:rPr lang="en-US" smtClean="0"/>
              <a:t>‹#›</a:t>
            </a:fld>
            <a:endParaRPr lang="en-US"/>
          </a:p>
        </p:txBody>
      </p:sp>
    </p:spTree>
    <p:extLst>
      <p:ext uri="{BB962C8B-B14F-4D97-AF65-F5344CB8AC3E}">
        <p14:creationId xmlns:p14="http://schemas.microsoft.com/office/powerpoint/2010/main" val="24505237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AC60C2A-D45F-42F2-B947-FD0BE392C4FA}"/>
              </a:ext>
            </a:extLst>
          </p:cNvPr>
          <p:cNvGrpSpPr/>
          <p:nvPr userDrawn="1"/>
        </p:nvGrpSpPr>
        <p:grpSpPr>
          <a:xfrm>
            <a:off x="-11703" y="-3628"/>
            <a:ext cx="75101" cy="6861628"/>
            <a:chOff x="-11703" y="-3628"/>
            <a:chExt cx="75101" cy="6861628"/>
          </a:xfrm>
        </p:grpSpPr>
        <p:sp>
          <p:nvSpPr>
            <p:cNvPr id="3" name="Rectangle 2">
              <a:extLst>
                <a:ext uri="{FF2B5EF4-FFF2-40B4-BE49-F238E27FC236}">
                  <a16:creationId xmlns:a16="http://schemas.microsoft.com/office/drawing/2014/main" id="{EA86C045-896D-4896-98E8-D39608A368D6}"/>
                </a:ext>
              </a:extLst>
            </p:cNvPr>
            <p:cNvSpPr/>
            <p:nvPr/>
          </p:nvSpPr>
          <p:spPr>
            <a:xfrm rot="5400000">
              <a:off x="-659267" y="645307"/>
              <a:ext cx="1371600" cy="7373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D2F07917-9856-4095-97E6-00B4A659292D}"/>
                </a:ext>
              </a:extLst>
            </p:cNvPr>
            <p:cNvSpPr/>
            <p:nvPr/>
          </p:nvSpPr>
          <p:spPr>
            <a:xfrm rot="5400000">
              <a:off x="-659267" y="2016907"/>
              <a:ext cx="1371600" cy="73730"/>
            </a:xfrm>
            <a:prstGeom prst="rect">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F418B17-5945-4621-998F-6CBAB835CBE6}"/>
                </a:ext>
              </a:extLst>
            </p:cNvPr>
            <p:cNvSpPr/>
            <p:nvPr/>
          </p:nvSpPr>
          <p:spPr>
            <a:xfrm rot="5400000">
              <a:off x="-659267" y="3388507"/>
              <a:ext cx="1371600" cy="73730"/>
            </a:xfrm>
            <a:prstGeom prst="rect">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9C1F41B-FB58-48C4-990D-D127F64E05E1}"/>
                </a:ext>
              </a:extLst>
            </p:cNvPr>
            <p:cNvSpPr/>
            <p:nvPr/>
          </p:nvSpPr>
          <p:spPr>
            <a:xfrm rot="5400000">
              <a:off x="-660638" y="4760107"/>
              <a:ext cx="1371600" cy="73730"/>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CD9581-A85D-4C22-9269-9710511CC724}"/>
                </a:ext>
              </a:extLst>
            </p:cNvPr>
            <p:cNvSpPr/>
            <p:nvPr/>
          </p:nvSpPr>
          <p:spPr>
            <a:xfrm rot="5400000">
              <a:off x="-660638" y="6135335"/>
              <a:ext cx="1371600" cy="73730"/>
            </a:xfrm>
            <a:prstGeom prst="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8103486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a:latin typeface="Open Sans" charset="0"/>
                <a:ea typeface="Open Sans" charset="0"/>
                <a:cs typeface="Open Sans" charset="0"/>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700">
                <a:latin typeface="Open Sans" charset="0"/>
                <a:ea typeface="Open Sans" charset="0"/>
                <a:cs typeface="Open Sans" charset="0"/>
                <a:hlinkClick r:id="rId2"/>
              </a:rPr>
              <a:t>www.deloitte.com/about</a:t>
            </a:r>
            <a:r>
              <a:rPr lang="en-US" sz="700">
                <a:latin typeface="Open Sans" charset="0"/>
                <a:ea typeface="Open Sans" charset="0"/>
                <a:cs typeface="Open Sans" charset="0"/>
              </a:rPr>
              <a:t> for a more detailed description of DTTL and its member firms.</a:t>
            </a:r>
          </a:p>
          <a:p>
            <a:pPr>
              <a:lnSpc>
                <a:spcPct val="120000"/>
              </a:lnSpc>
            </a:pPr>
            <a:endParaRPr lang="en-US" sz="700">
              <a:latin typeface="Open Sans" charset="0"/>
              <a:ea typeface="Open Sans" charset="0"/>
              <a:cs typeface="Open Sans" charset="0"/>
            </a:endParaRPr>
          </a:p>
          <a:p>
            <a:pPr>
              <a:lnSpc>
                <a:spcPct val="120000"/>
              </a:lnSpc>
            </a:pPr>
            <a:endParaRPr lang="en-US" sz="700">
              <a:latin typeface="Open Sans" charset="0"/>
              <a:ea typeface="Open Sans" charset="0"/>
              <a:cs typeface="Open Sans" charset="0"/>
            </a:endParaRPr>
          </a:p>
          <a:p>
            <a:pPr>
              <a:lnSpc>
                <a:spcPct val="120000"/>
              </a:lnSpc>
            </a:pPr>
            <a:endParaRPr lang="en-US" sz="700">
              <a:latin typeface="Open Sans" charset="0"/>
              <a:ea typeface="Open Sans" charset="0"/>
              <a:cs typeface="Open Sans" charset="0"/>
            </a:endParaRPr>
          </a:p>
          <a:p>
            <a:pPr>
              <a:lnSpc>
                <a:spcPct val="120000"/>
              </a:lnSpc>
            </a:pP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This communication is for internal distribution and use only among personnel of Deloitte Touche Tohmatsu Limited, its member firms, and their related entities (collectively, the “Deloitte network”). None of the Deloitte network shall be responsible for any loss whatsoever sustained by any person who relies on this communication.</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 2022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Touche Tohmatsu Limited</a:t>
            </a:r>
          </a:p>
        </p:txBody>
      </p:sp>
      <p:grpSp>
        <p:nvGrpSpPr>
          <p:cNvPr id="4" name="Group 3">
            <a:extLst>
              <a:ext uri="{FF2B5EF4-FFF2-40B4-BE49-F238E27FC236}">
                <a16:creationId xmlns:a16="http://schemas.microsoft.com/office/drawing/2014/main" id="{B3CDC9F6-6D3A-B044-8986-42585410C1E6}"/>
              </a:ext>
            </a:extLst>
          </p:cNvPr>
          <p:cNvGrpSpPr>
            <a:grpSpLocks noChangeAspect="1"/>
          </p:cNvGrpSpPr>
          <p:nvPr userDrawn="1"/>
        </p:nvGrpSpPr>
        <p:grpSpPr>
          <a:xfrm>
            <a:off x="913114" y="775363"/>
            <a:ext cx="1789745" cy="335376"/>
            <a:chOff x="398463" y="404813"/>
            <a:chExt cx="1627187" cy="307976"/>
          </a:xfrm>
          <a:solidFill>
            <a:schemeClr val="tx1"/>
          </a:solidFill>
        </p:grpSpPr>
        <p:sp>
          <p:nvSpPr>
            <p:cNvPr id="6" name="Oval 5">
              <a:extLst>
                <a:ext uri="{FF2B5EF4-FFF2-40B4-BE49-F238E27FC236}">
                  <a16:creationId xmlns:a16="http://schemas.microsoft.com/office/drawing/2014/main" id="{2A301B43-E9A4-514B-8E19-3CB9276706B0}"/>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7" name="Freeform 6">
              <a:extLst>
                <a:ext uri="{FF2B5EF4-FFF2-40B4-BE49-F238E27FC236}">
                  <a16:creationId xmlns:a16="http://schemas.microsoft.com/office/drawing/2014/main" id="{F66EE081-DFE3-9E42-9BBA-222CA8D48AD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8" name="Rectangle 7">
              <a:extLst>
                <a:ext uri="{FF2B5EF4-FFF2-40B4-BE49-F238E27FC236}">
                  <a16:creationId xmlns:a16="http://schemas.microsoft.com/office/drawing/2014/main" id="{7FA68F91-720E-2E41-B68C-7C04AE3704D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Freeform 8">
              <a:extLst>
                <a:ext uri="{FF2B5EF4-FFF2-40B4-BE49-F238E27FC236}">
                  <a16:creationId xmlns:a16="http://schemas.microsoft.com/office/drawing/2014/main" id="{985E8269-CECF-B042-8E6C-E4617D62B59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1" name="Rectangle 9">
              <a:extLst>
                <a:ext uri="{FF2B5EF4-FFF2-40B4-BE49-F238E27FC236}">
                  <a16:creationId xmlns:a16="http://schemas.microsoft.com/office/drawing/2014/main" id="{D0587386-38EA-E347-8161-93ADBC842EB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2" name="Rectangle 10">
              <a:extLst>
                <a:ext uri="{FF2B5EF4-FFF2-40B4-BE49-F238E27FC236}">
                  <a16:creationId xmlns:a16="http://schemas.microsoft.com/office/drawing/2014/main" id="{8725D35E-033B-934C-863C-232E4739671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3" name="Freeform 11">
              <a:extLst>
                <a:ext uri="{FF2B5EF4-FFF2-40B4-BE49-F238E27FC236}">
                  <a16:creationId xmlns:a16="http://schemas.microsoft.com/office/drawing/2014/main" id="{3560A7AE-BA99-2E46-AD1F-AE2C0CCE43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4" name="Freeform 12">
              <a:extLst>
                <a:ext uri="{FF2B5EF4-FFF2-40B4-BE49-F238E27FC236}">
                  <a16:creationId xmlns:a16="http://schemas.microsoft.com/office/drawing/2014/main" id="{78C16B87-806E-1744-A924-8D8257A5C3A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5" name="Freeform 13">
              <a:extLst>
                <a:ext uri="{FF2B5EF4-FFF2-40B4-BE49-F238E27FC236}">
                  <a16:creationId xmlns:a16="http://schemas.microsoft.com/office/drawing/2014/main" id="{CE56BB14-B223-924D-AEA5-1BECE0B9939B}"/>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6" name="Freeform 14">
              <a:extLst>
                <a:ext uri="{FF2B5EF4-FFF2-40B4-BE49-F238E27FC236}">
                  <a16:creationId xmlns:a16="http://schemas.microsoft.com/office/drawing/2014/main" id="{6A13BAEC-4E6E-F944-94FC-79F25976789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849285158"/>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677261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98910718"/>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047189102"/>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87692060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4294442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48771415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78130658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74657220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7B55E-90DC-4625-A521-941E83D3A5E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CF9D244-A7A9-43E2-8D9F-DF93FB21825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9FC39BD-15AF-40E2-B8F2-102AAD6DBEC7}"/>
              </a:ext>
            </a:extLst>
          </p:cNvPr>
          <p:cNvSpPr>
            <a:spLocks noGrp="1"/>
          </p:cNvSpPr>
          <p:nvPr>
            <p:ph type="dt" sz="half" idx="10"/>
          </p:nvPr>
        </p:nvSpPr>
        <p:spPr/>
        <p:txBody>
          <a:bodyPr/>
          <a:lstStyle/>
          <a:p>
            <a:fld id="{5031F1E8-EF51-4A63-AA95-54B1BF6B3EE4}" type="datetimeFigureOut">
              <a:rPr lang="en-US" smtClean="0"/>
              <a:t>7/6/2023</a:t>
            </a:fld>
            <a:endParaRPr lang="en-US"/>
          </a:p>
        </p:txBody>
      </p:sp>
      <p:sp>
        <p:nvSpPr>
          <p:cNvPr id="5" name="Footer Placeholder 4">
            <a:extLst>
              <a:ext uri="{FF2B5EF4-FFF2-40B4-BE49-F238E27FC236}">
                <a16:creationId xmlns:a16="http://schemas.microsoft.com/office/drawing/2014/main" id="{F65607BA-C5B8-4692-B8EC-F7670F25F07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D4A86F-E00E-42DD-8948-972FE0B4E8AD}"/>
              </a:ext>
            </a:extLst>
          </p:cNvPr>
          <p:cNvSpPr>
            <a:spLocks noGrp="1"/>
          </p:cNvSpPr>
          <p:nvPr>
            <p:ph type="sldNum" sz="quarter" idx="12"/>
          </p:nvPr>
        </p:nvSpPr>
        <p:spPr/>
        <p:txBody>
          <a:bodyPr/>
          <a:lstStyle/>
          <a:p>
            <a:fld id="{AC746E64-7E2E-4904-9B11-ADCDD3191AF1}" type="slidenum">
              <a:rPr lang="en-US" smtClean="0"/>
              <a:t>‹#›</a:t>
            </a:fld>
            <a:endParaRPr lang="en-US"/>
          </a:p>
        </p:txBody>
      </p:sp>
    </p:spTree>
    <p:extLst>
      <p:ext uri="{BB962C8B-B14F-4D97-AF65-F5344CB8AC3E}">
        <p14:creationId xmlns:p14="http://schemas.microsoft.com/office/powerpoint/2010/main" val="35058473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233266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68090099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reative headline-3">
    <p:spTree>
      <p:nvGrpSpPr>
        <p:cNvPr id="1" name=""/>
        <p:cNvGrpSpPr/>
        <p:nvPr/>
      </p:nvGrpSpPr>
      <p:grpSpPr>
        <a:xfrm>
          <a:off x="0" y="0"/>
          <a:ext cx="0" cy="0"/>
          <a:chOff x="0" y="0"/>
          <a:chExt cx="0" cy="0"/>
        </a:xfrm>
      </p:grpSpPr>
      <p:sp>
        <p:nvSpPr>
          <p:cNvPr id="2" name="Title 1"/>
          <p:cNvSpPr>
            <a:spLocks noGrp="1"/>
          </p:cNvSpPr>
          <p:nvPr>
            <p:ph type="title"/>
          </p:nvPr>
        </p:nvSpPr>
        <p:spPr>
          <a:xfrm>
            <a:off x="530978" y="548298"/>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530978" y="2392822"/>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798213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2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Touche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188555266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solidFill>
                  <a:schemeClr val="bg1"/>
                </a:solidFill>
              </a:rPr>
              <a:t>Do not use this</a:t>
            </a:r>
            <a:r>
              <a:rPr lang="en-US" sz="11500" b="1" baseline="0">
                <a:solidFill>
                  <a:schemeClr val="bg1"/>
                </a:solidFill>
              </a:rPr>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252581139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cSld name="questions">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81C08B4-A47A-4C79-A743-260333D4028C}"/>
              </a:ext>
            </a:extLst>
          </p:cNvPr>
          <p:cNvSpPr>
            <a:spLocks noGrp="1"/>
          </p:cNvSpPr>
          <p:nvPr>
            <p:ph type="dt" sz="half" idx="10"/>
          </p:nvPr>
        </p:nvSpPr>
        <p:spPr/>
        <p:txBody>
          <a:bodyPr/>
          <a:lstStyle/>
          <a:p>
            <a:fld id="{0EF9482A-EB8C-4482-AC6E-8255CBBFFB16}" type="datetime1">
              <a:rPr lang="en-US" smtClean="0"/>
              <a:t>7/6/2023</a:t>
            </a:fld>
            <a:endParaRPr lang="en-US"/>
          </a:p>
        </p:txBody>
      </p:sp>
      <p:sp>
        <p:nvSpPr>
          <p:cNvPr id="3" name="Footer Placeholder 2">
            <a:extLst>
              <a:ext uri="{FF2B5EF4-FFF2-40B4-BE49-F238E27FC236}">
                <a16:creationId xmlns:a16="http://schemas.microsoft.com/office/drawing/2014/main" id="{59D74BD3-99BE-42C9-8F26-10AA4A29AB3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778BC08-FADA-4687-9E79-523C8BB59302}"/>
              </a:ext>
            </a:extLst>
          </p:cNvPr>
          <p:cNvSpPr>
            <a:spLocks noGrp="1"/>
          </p:cNvSpPr>
          <p:nvPr>
            <p:ph type="sldNum" sz="quarter" idx="12"/>
          </p:nvPr>
        </p:nvSpPr>
        <p:spPr/>
        <p:txBody>
          <a:bodyPr/>
          <a:lstStyle/>
          <a:p>
            <a:fld id="{9CA8F74E-D516-45C9-90A9-A076C07AAF29}" type="slidenum">
              <a:rPr lang="en-US" smtClean="0"/>
              <a:t>‹#›</a:t>
            </a:fld>
            <a:endParaRPr lang="en-US"/>
          </a:p>
        </p:txBody>
      </p:sp>
      <p:pic>
        <p:nvPicPr>
          <p:cNvPr id="5" name="Picture 4">
            <a:extLst>
              <a:ext uri="{FF2B5EF4-FFF2-40B4-BE49-F238E27FC236}">
                <a16:creationId xmlns:a16="http://schemas.microsoft.com/office/drawing/2014/main" id="{7201D171-6C54-4CD8-A3CF-8CF16DE17386}"/>
              </a:ext>
            </a:extLst>
          </p:cNvPr>
          <p:cNvPicPr>
            <a:picLocks noChangeAspect="1"/>
          </p:cNvPicPr>
          <p:nvPr userDrawn="1"/>
        </p:nvPicPr>
        <p:blipFill rotWithShape="1">
          <a:blip r:embed="rId2">
            <a:biLevel thresh="25000"/>
            <a:extLst>
              <a:ext uri="{28A0092B-C50C-407E-A947-70E740481C1C}">
                <a14:useLocalDpi xmlns:a14="http://schemas.microsoft.com/office/drawing/2010/main" val="0"/>
              </a:ext>
            </a:extLst>
          </a:blip>
          <a:srcRect l="914" r="3700"/>
          <a:stretch/>
        </p:blipFill>
        <p:spPr>
          <a:xfrm>
            <a:off x="-1" y="729886"/>
            <a:ext cx="12192001" cy="4719030"/>
          </a:xfrm>
          <a:prstGeom prst="rect">
            <a:avLst/>
          </a:prstGeom>
        </p:spPr>
      </p:pic>
      <p:pic>
        <p:nvPicPr>
          <p:cNvPr id="6" name="Picture 5" descr="A picture containing outdoor object, honeycomb&#10;&#10;Description automatically generated">
            <a:extLst>
              <a:ext uri="{FF2B5EF4-FFF2-40B4-BE49-F238E27FC236}">
                <a16:creationId xmlns:a16="http://schemas.microsoft.com/office/drawing/2014/main" id="{A9FA0BE9-C995-4FE1-A8F5-C42E5181AA5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33819" r="9910" b="38030"/>
          <a:stretch/>
        </p:blipFill>
        <p:spPr>
          <a:xfrm>
            <a:off x="0" y="4541481"/>
            <a:ext cx="5183188" cy="2317627"/>
          </a:xfrm>
          <a:prstGeom prst="rect">
            <a:avLst/>
          </a:prstGeom>
        </p:spPr>
      </p:pic>
      <p:pic>
        <p:nvPicPr>
          <p:cNvPr id="7" name="Picture 6">
            <a:extLst>
              <a:ext uri="{FF2B5EF4-FFF2-40B4-BE49-F238E27FC236}">
                <a16:creationId xmlns:a16="http://schemas.microsoft.com/office/drawing/2014/main" id="{E0B3C018-5A7E-4487-904D-A8DF31755042}"/>
              </a:ext>
            </a:extLst>
          </p:cNvPr>
          <p:cNvPicPr>
            <a:picLocks noChangeAspect="1"/>
          </p:cNvPicPr>
          <p:nvPr userDrawn="1"/>
        </p:nvPicPr>
        <p:blipFill>
          <a:blip r:embed="rId4"/>
          <a:stretch>
            <a:fillRect/>
          </a:stretch>
        </p:blipFill>
        <p:spPr>
          <a:xfrm>
            <a:off x="306572" y="2105695"/>
            <a:ext cx="6549656" cy="2051188"/>
          </a:xfrm>
          <a:prstGeom prst="rect">
            <a:avLst/>
          </a:prstGeom>
        </p:spPr>
      </p:pic>
      <p:pic>
        <p:nvPicPr>
          <p:cNvPr id="8" name="Picture 7" descr="Icon&#10;&#10;Description automatically generated">
            <a:extLst>
              <a:ext uri="{FF2B5EF4-FFF2-40B4-BE49-F238E27FC236}">
                <a16:creationId xmlns:a16="http://schemas.microsoft.com/office/drawing/2014/main" id="{C5C307F2-4B9D-4620-B5ED-6B8BBE5282A4}"/>
              </a:ext>
            </a:extLst>
          </p:cNvPr>
          <p:cNvPicPr>
            <a:picLocks noChangeAspect="1"/>
          </p:cNvPicPr>
          <p:nvPr userDrawn="1"/>
        </p:nvPicPr>
        <p:blipFill rotWithShape="1">
          <a:blip r:embed="rId5" cstate="print">
            <a:alphaModFix amt="24000"/>
            <a:extLst>
              <a:ext uri="{28A0092B-C50C-407E-A947-70E740481C1C}">
                <a14:useLocalDpi xmlns:a14="http://schemas.microsoft.com/office/drawing/2010/main" val="0"/>
              </a:ext>
            </a:extLst>
          </a:blip>
          <a:srcRect b="29147"/>
          <a:stretch/>
        </p:blipFill>
        <p:spPr>
          <a:xfrm flipH="1">
            <a:off x="10398140" y="5814463"/>
            <a:ext cx="1467794" cy="1043537"/>
          </a:xfrm>
          <a:prstGeom prst="rect">
            <a:avLst/>
          </a:prstGeom>
          <a:noFill/>
        </p:spPr>
      </p:pic>
      <p:pic>
        <p:nvPicPr>
          <p:cNvPr id="9" name="Picture 8" descr="A picture containing text, clipart&#10;&#10;Description automatically generated">
            <a:extLst>
              <a:ext uri="{FF2B5EF4-FFF2-40B4-BE49-F238E27FC236}">
                <a16:creationId xmlns:a16="http://schemas.microsoft.com/office/drawing/2014/main" id="{2F39DD12-621D-46E1-9F21-E5E98F60D072}"/>
              </a:ext>
            </a:extLst>
          </p:cNvPr>
          <p:cNvPicPr>
            <a:picLocks noChangeAspect="1"/>
          </p:cNvPicPr>
          <p:nvPr userDrawn="1"/>
        </p:nvPicPr>
        <p:blipFill>
          <a:blip r:embed="rId6" cstate="print">
            <a:alphaModFix amt="30000"/>
            <a:extLst>
              <a:ext uri="{28A0092B-C50C-407E-A947-70E740481C1C}">
                <a14:useLocalDpi xmlns:a14="http://schemas.microsoft.com/office/drawing/2010/main" val="0"/>
              </a:ext>
            </a:extLst>
          </a:blip>
          <a:stretch>
            <a:fillRect/>
          </a:stretch>
        </p:blipFill>
        <p:spPr>
          <a:xfrm>
            <a:off x="8797548" y="6402460"/>
            <a:ext cx="1871335" cy="272903"/>
          </a:xfrm>
          <a:prstGeom prst="rect">
            <a:avLst/>
          </a:prstGeom>
        </p:spPr>
      </p:pic>
    </p:spTree>
    <p:extLst>
      <p:ext uri="{BB962C8B-B14F-4D97-AF65-F5344CB8AC3E}">
        <p14:creationId xmlns:p14="http://schemas.microsoft.com/office/powerpoint/2010/main" val="17139143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7337EA-F363-4DE7-802D-AA8E13E907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575FDA4-EB94-4264-B120-EF5798561D1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75E3854-A389-4EA7-AEDA-A4D46F87FE85}"/>
              </a:ext>
            </a:extLst>
          </p:cNvPr>
          <p:cNvSpPr>
            <a:spLocks noGrp="1"/>
          </p:cNvSpPr>
          <p:nvPr>
            <p:ph type="dt" sz="half" idx="10"/>
          </p:nvPr>
        </p:nvSpPr>
        <p:spPr/>
        <p:txBody>
          <a:bodyPr/>
          <a:lstStyle/>
          <a:p>
            <a:fld id="{7908013E-FEA1-4445-9DE7-44F3C33C0BF0}" type="datetimeFigureOut">
              <a:rPr lang="en-US" smtClean="0"/>
              <a:t>7/6/2023</a:t>
            </a:fld>
            <a:endParaRPr lang="en-US"/>
          </a:p>
        </p:txBody>
      </p:sp>
      <p:sp>
        <p:nvSpPr>
          <p:cNvPr id="5" name="Footer Placeholder 4">
            <a:extLst>
              <a:ext uri="{FF2B5EF4-FFF2-40B4-BE49-F238E27FC236}">
                <a16:creationId xmlns:a16="http://schemas.microsoft.com/office/drawing/2014/main" id="{A8AFE86B-3F8E-4916-B0D7-A31D68919E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E463A3-BD1E-43D8-B9FB-069796D1334D}"/>
              </a:ext>
            </a:extLst>
          </p:cNvPr>
          <p:cNvSpPr>
            <a:spLocks noGrp="1"/>
          </p:cNvSpPr>
          <p:nvPr>
            <p:ph type="sldNum" sz="quarter" idx="12"/>
          </p:nvPr>
        </p:nvSpPr>
        <p:spPr/>
        <p:txBody>
          <a:bodyPr/>
          <a:lstStyle/>
          <a:p>
            <a:fld id="{46721817-0F81-40DA-AA0E-83888861526E}" type="slidenum">
              <a:rPr lang="en-US" smtClean="0"/>
              <a:t>‹#›</a:t>
            </a:fld>
            <a:endParaRPr lang="en-US"/>
          </a:p>
        </p:txBody>
      </p:sp>
    </p:spTree>
    <p:extLst>
      <p:ext uri="{BB962C8B-B14F-4D97-AF65-F5344CB8AC3E}">
        <p14:creationId xmlns:p14="http://schemas.microsoft.com/office/powerpoint/2010/main" val="17402663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83D62F-62FC-4CDC-B2DD-6749B34DED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7A54670-9607-4438-B851-EB5FB5E5076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3D6427-4C42-42A7-9CC4-502594AB9A04}"/>
              </a:ext>
            </a:extLst>
          </p:cNvPr>
          <p:cNvSpPr>
            <a:spLocks noGrp="1"/>
          </p:cNvSpPr>
          <p:nvPr>
            <p:ph type="dt" sz="half" idx="10"/>
          </p:nvPr>
        </p:nvSpPr>
        <p:spPr/>
        <p:txBody>
          <a:bodyPr/>
          <a:lstStyle/>
          <a:p>
            <a:fld id="{7908013E-FEA1-4445-9DE7-44F3C33C0BF0}" type="datetimeFigureOut">
              <a:rPr lang="en-US" smtClean="0"/>
              <a:t>7/6/2023</a:t>
            </a:fld>
            <a:endParaRPr lang="en-US"/>
          </a:p>
        </p:txBody>
      </p:sp>
      <p:sp>
        <p:nvSpPr>
          <p:cNvPr id="5" name="Footer Placeholder 4">
            <a:extLst>
              <a:ext uri="{FF2B5EF4-FFF2-40B4-BE49-F238E27FC236}">
                <a16:creationId xmlns:a16="http://schemas.microsoft.com/office/drawing/2014/main" id="{157B9EE0-AF52-4AAE-B2E6-EE8A6A26B8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5202DE-FF44-44A2-84E2-533A21735806}"/>
              </a:ext>
            </a:extLst>
          </p:cNvPr>
          <p:cNvSpPr>
            <a:spLocks noGrp="1"/>
          </p:cNvSpPr>
          <p:nvPr>
            <p:ph type="sldNum" sz="quarter" idx="12"/>
          </p:nvPr>
        </p:nvSpPr>
        <p:spPr/>
        <p:txBody>
          <a:bodyPr/>
          <a:lstStyle/>
          <a:p>
            <a:fld id="{46721817-0F81-40DA-AA0E-83888861526E}" type="slidenum">
              <a:rPr lang="en-US" smtClean="0"/>
              <a:t>‹#›</a:t>
            </a:fld>
            <a:endParaRPr lang="en-US"/>
          </a:p>
        </p:txBody>
      </p:sp>
    </p:spTree>
    <p:extLst>
      <p:ext uri="{BB962C8B-B14F-4D97-AF65-F5344CB8AC3E}">
        <p14:creationId xmlns:p14="http://schemas.microsoft.com/office/powerpoint/2010/main" val="33157497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60CC9-7D70-47A9-846A-2DC985821EF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401A928-0A1E-4B1A-A677-BEDCF8627D3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53EFF43-0A0B-47A8-864E-22BCADEEE2E5}"/>
              </a:ext>
            </a:extLst>
          </p:cNvPr>
          <p:cNvSpPr>
            <a:spLocks noGrp="1"/>
          </p:cNvSpPr>
          <p:nvPr>
            <p:ph type="dt" sz="half" idx="10"/>
          </p:nvPr>
        </p:nvSpPr>
        <p:spPr/>
        <p:txBody>
          <a:bodyPr/>
          <a:lstStyle/>
          <a:p>
            <a:fld id="{7908013E-FEA1-4445-9DE7-44F3C33C0BF0}" type="datetimeFigureOut">
              <a:rPr lang="en-US" smtClean="0"/>
              <a:t>7/6/2023</a:t>
            </a:fld>
            <a:endParaRPr lang="en-US"/>
          </a:p>
        </p:txBody>
      </p:sp>
      <p:sp>
        <p:nvSpPr>
          <p:cNvPr id="5" name="Footer Placeholder 4">
            <a:extLst>
              <a:ext uri="{FF2B5EF4-FFF2-40B4-BE49-F238E27FC236}">
                <a16:creationId xmlns:a16="http://schemas.microsoft.com/office/drawing/2014/main" id="{1D186A71-7A9E-4093-9365-446D74E51E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AA2F77-AFD8-4912-BF0D-C44E8459930F}"/>
              </a:ext>
            </a:extLst>
          </p:cNvPr>
          <p:cNvSpPr>
            <a:spLocks noGrp="1"/>
          </p:cNvSpPr>
          <p:nvPr>
            <p:ph type="sldNum" sz="quarter" idx="12"/>
          </p:nvPr>
        </p:nvSpPr>
        <p:spPr/>
        <p:txBody>
          <a:bodyPr/>
          <a:lstStyle/>
          <a:p>
            <a:fld id="{46721817-0F81-40DA-AA0E-83888861526E}" type="slidenum">
              <a:rPr lang="en-US" smtClean="0"/>
              <a:t>‹#›</a:t>
            </a:fld>
            <a:endParaRPr lang="en-US"/>
          </a:p>
        </p:txBody>
      </p:sp>
    </p:spTree>
    <p:extLst>
      <p:ext uri="{BB962C8B-B14F-4D97-AF65-F5344CB8AC3E}">
        <p14:creationId xmlns:p14="http://schemas.microsoft.com/office/powerpoint/2010/main" val="31823353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63D63-AE1D-4903-B7D9-DD244244B05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232B957-1227-48DA-98BC-5C8B68D6E44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CC1BF75-9B50-4D5B-B07D-B5499D3E412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69B9A12-8AF9-42F9-86CC-38C7A7B75F6E}"/>
              </a:ext>
            </a:extLst>
          </p:cNvPr>
          <p:cNvSpPr>
            <a:spLocks noGrp="1"/>
          </p:cNvSpPr>
          <p:nvPr>
            <p:ph type="dt" sz="half" idx="10"/>
          </p:nvPr>
        </p:nvSpPr>
        <p:spPr/>
        <p:txBody>
          <a:bodyPr/>
          <a:lstStyle/>
          <a:p>
            <a:fld id="{7908013E-FEA1-4445-9DE7-44F3C33C0BF0}" type="datetimeFigureOut">
              <a:rPr lang="en-US" smtClean="0"/>
              <a:t>7/6/2023</a:t>
            </a:fld>
            <a:endParaRPr lang="en-US"/>
          </a:p>
        </p:txBody>
      </p:sp>
      <p:sp>
        <p:nvSpPr>
          <p:cNvPr id="6" name="Footer Placeholder 5">
            <a:extLst>
              <a:ext uri="{FF2B5EF4-FFF2-40B4-BE49-F238E27FC236}">
                <a16:creationId xmlns:a16="http://schemas.microsoft.com/office/drawing/2014/main" id="{64735C81-FC24-475F-8C13-6D2FA3BE836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B4FCA60-B93F-4D7E-BF43-352166190E51}"/>
              </a:ext>
            </a:extLst>
          </p:cNvPr>
          <p:cNvSpPr>
            <a:spLocks noGrp="1"/>
          </p:cNvSpPr>
          <p:nvPr>
            <p:ph type="sldNum" sz="quarter" idx="12"/>
          </p:nvPr>
        </p:nvSpPr>
        <p:spPr/>
        <p:txBody>
          <a:bodyPr/>
          <a:lstStyle/>
          <a:p>
            <a:fld id="{46721817-0F81-40DA-AA0E-83888861526E}" type="slidenum">
              <a:rPr lang="en-US" smtClean="0"/>
              <a:t>‹#›</a:t>
            </a:fld>
            <a:endParaRPr lang="en-US"/>
          </a:p>
        </p:txBody>
      </p:sp>
    </p:spTree>
    <p:extLst>
      <p:ext uri="{BB962C8B-B14F-4D97-AF65-F5344CB8AC3E}">
        <p14:creationId xmlns:p14="http://schemas.microsoft.com/office/powerpoint/2010/main" val="39772459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D45163-E761-478A-92DD-5AC6D828F28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A4F8B31-0816-484A-B2E6-EB0A1D4B8D5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29B78CE-DC5C-4FFC-B2C1-F60F389427D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F04E303-1FBB-490A-83A2-96A4BAE2D698}"/>
              </a:ext>
            </a:extLst>
          </p:cNvPr>
          <p:cNvSpPr>
            <a:spLocks noGrp="1"/>
          </p:cNvSpPr>
          <p:nvPr>
            <p:ph type="dt" sz="half" idx="10"/>
          </p:nvPr>
        </p:nvSpPr>
        <p:spPr/>
        <p:txBody>
          <a:bodyPr/>
          <a:lstStyle/>
          <a:p>
            <a:fld id="{5031F1E8-EF51-4A63-AA95-54B1BF6B3EE4}" type="datetimeFigureOut">
              <a:rPr lang="en-US" smtClean="0"/>
              <a:t>7/6/2023</a:t>
            </a:fld>
            <a:endParaRPr lang="en-US"/>
          </a:p>
        </p:txBody>
      </p:sp>
      <p:sp>
        <p:nvSpPr>
          <p:cNvPr id="6" name="Footer Placeholder 5">
            <a:extLst>
              <a:ext uri="{FF2B5EF4-FFF2-40B4-BE49-F238E27FC236}">
                <a16:creationId xmlns:a16="http://schemas.microsoft.com/office/drawing/2014/main" id="{A2666222-39A9-4557-9C72-A441B12F105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B972AD6-03AD-4C51-898B-8224DA882C26}"/>
              </a:ext>
            </a:extLst>
          </p:cNvPr>
          <p:cNvSpPr>
            <a:spLocks noGrp="1"/>
          </p:cNvSpPr>
          <p:nvPr>
            <p:ph type="sldNum" sz="quarter" idx="12"/>
          </p:nvPr>
        </p:nvSpPr>
        <p:spPr/>
        <p:txBody>
          <a:bodyPr/>
          <a:lstStyle/>
          <a:p>
            <a:fld id="{AC746E64-7E2E-4904-9B11-ADCDD3191AF1}" type="slidenum">
              <a:rPr lang="en-US" smtClean="0"/>
              <a:t>‹#›</a:t>
            </a:fld>
            <a:endParaRPr lang="en-US"/>
          </a:p>
        </p:txBody>
      </p:sp>
    </p:spTree>
    <p:extLst>
      <p:ext uri="{BB962C8B-B14F-4D97-AF65-F5344CB8AC3E}">
        <p14:creationId xmlns:p14="http://schemas.microsoft.com/office/powerpoint/2010/main" val="26590308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B03CDB-2319-43B1-AA1E-DFC2C8A8F8F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036DE45-1195-49E7-AD00-7582B0963C7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F10A441-22F7-498F-94BE-6FF2E37D5F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24E61B7-5D38-4FDE-B4AC-F64F333F5A7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6365E15-CF34-4900-AE19-6C0D7A78F4B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0142888-7484-4BAD-AE67-F35FA22E2A1C}"/>
              </a:ext>
            </a:extLst>
          </p:cNvPr>
          <p:cNvSpPr>
            <a:spLocks noGrp="1"/>
          </p:cNvSpPr>
          <p:nvPr>
            <p:ph type="dt" sz="half" idx="10"/>
          </p:nvPr>
        </p:nvSpPr>
        <p:spPr/>
        <p:txBody>
          <a:bodyPr/>
          <a:lstStyle/>
          <a:p>
            <a:fld id="{7908013E-FEA1-4445-9DE7-44F3C33C0BF0}" type="datetimeFigureOut">
              <a:rPr lang="en-US" smtClean="0"/>
              <a:t>7/6/2023</a:t>
            </a:fld>
            <a:endParaRPr lang="en-US"/>
          </a:p>
        </p:txBody>
      </p:sp>
      <p:sp>
        <p:nvSpPr>
          <p:cNvPr id="8" name="Footer Placeholder 7">
            <a:extLst>
              <a:ext uri="{FF2B5EF4-FFF2-40B4-BE49-F238E27FC236}">
                <a16:creationId xmlns:a16="http://schemas.microsoft.com/office/drawing/2014/main" id="{68CD63BC-1F9C-4845-921D-8A74415169D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1F177C3-AC1A-4FFE-8A1F-52AAF4B8B53E}"/>
              </a:ext>
            </a:extLst>
          </p:cNvPr>
          <p:cNvSpPr>
            <a:spLocks noGrp="1"/>
          </p:cNvSpPr>
          <p:nvPr>
            <p:ph type="sldNum" sz="quarter" idx="12"/>
          </p:nvPr>
        </p:nvSpPr>
        <p:spPr/>
        <p:txBody>
          <a:bodyPr/>
          <a:lstStyle/>
          <a:p>
            <a:fld id="{46721817-0F81-40DA-AA0E-83888861526E}" type="slidenum">
              <a:rPr lang="en-US" smtClean="0"/>
              <a:t>‹#›</a:t>
            </a:fld>
            <a:endParaRPr lang="en-US"/>
          </a:p>
        </p:txBody>
      </p:sp>
    </p:spTree>
    <p:extLst>
      <p:ext uri="{BB962C8B-B14F-4D97-AF65-F5344CB8AC3E}">
        <p14:creationId xmlns:p14="http://schemas.microsoft.com/office/powerpoint/2010/main" val="26614670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B0CDD7-09EB-43F0-9A44-60B3FF62D67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F3B393D-0391-4C73-BFFA-E5C66AA1459F}"/>
              </a:ext>
            </a:extLst>
          </p:cNvPr>
          <p:cNvSpPr>
            <a:spLocks noGrp="1"/>
          </p:cNvSpPr>
          <p:nvPr>
            <p:ph type="dt" sz="half" idx="10"/>
          </p:nvPr>
        </p:nvSpPr>
        <p:spPr/>
        <p:txBody>
          <a:bodyPr/>
          <a:lstStyle/>
          <a:p>
            <a:fld id="{7908013E-FEA1-4445-9DE7-44F3C33C0BF0}" type="datetimeFigureOut">
              <a:rPr lang="en-US" smtClean="0"/>
              <a:t>7/6/2023</a:t>
            </a:fld>
            <a:endParaRPr lang="en-US"/>
          </a:p>
        </p:txBody>
      </p:sp>
      <p:sp>
        <p:nvSpPr>
          <p:cNvPr id="4" name="Footer Placeholder 3">
            <a:extLst>
              <a:ext uri="{FF2B5EF4-FFF2-40B4-BE49-F238E27FC236}">
                <a16:creationId xmlns:a16="http://schemas.microsoft.com/office/drawing/2014/main" id="{93D31667-A90C-40AE-9DD7-9811B66A953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577CFC1-8EBC-41A0-A4C3-CB78C2FDB176}"/>
              </a:ext>
            </a:extLst>
          </p:cNvPr>
          <p:cNvSpPr>
            <a:spLocks noGrp="1"/>
          </p:cNvSpPr>
          <p:nvPr>
            <p:ph type="sldNum" sz="quarter" idx="12"/>
          </p:nvPr>
        </p:nvSpPr>
        <p:spPr/>
        <p:txBody>
          <a:bodyPr/>
          <a:lstStyle/>
          <a:p>
            <a:fld id="{46721817-0F81-40DA-AA0E-83888861526E}" type="slidenum">
              <a:rPr lang="en-US" smtClean="0"/>
              <a:t>‹#›</a:t>
            </a:fld>
            <a:endParaRPr lang="en-US"/>
          </a:p>
        </p:txBody>
      </p:sp>
    </p:spTree>
    <p:extLst>
      <p:ext uri="{BB962C8B-B14F-4D97-AF65-F5344CB8AC3E}">
        <p14:creationId xmlns:p14="http://schemas.microsoft.com/office/powerpoint/2010/main" val="30811484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4763D11-C581-4627-B106-D804FB95AAAC}"/>
              </a:ext>
            </a:extLst>
          </p:cNvPr>
          <p:cNvSpPr>
            <a:spLocks noGrp="1"/>
          </p:cNvSpPr>
          <p:nvPr>
            <p:ph type="dt" sz="half" idx="10"/>
          </p:nvPr>
        </p:nvSpPr>
        <p:spPr/>
        <p:txBody>
          <a:bodyPr/>
          <a:lstStyle/>
          <a:p>
            <a:fld id="{7908013E-FEA1-4445-9DE7-44F3C33C0BF0}" type="datetimeFigureOut">
              <a:rPr lang="en-US" smtClean="0"/>
              <a:t>7/6/2023</a:t>
            </a:fld>
            <a:endParaRPr lang="en-US"/>
          </a:p>
        </p:txBody>
      </p:sp>
      <p:sp>
        <p:nvSpPr>
          <p:cNvPr id="3" name="Footer Placeholder 2">
            <a:extLst>
              <a:ext uri="{FF2B5EF4-FFF2-40B4-BE49-F238E27FC236}">
                <a16:creationId xmlns:a16="http://schemas.microsoft.com/office/drawing/2014/main" id="{73F30E3D-176C-43CD-9DBD-2AF56216E8F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0D8848F-57D9-4D05-BA42-744E168FADA4}"/>
              </a:ext>
            </a:extLst>
          </p:cNvPr>
          <p:cNvSpPr>
            <a:spLocks noGrp="1"/>
          </p:cNvSpPr>
          <p:nvPr>
            <p:ph type="sldNum" sz="quarter" idx="12"/>
          </p:nvPr>
        </p:nvSpPr>
        <p:spPr/>
        <p:txBody>
          <a:bodyPr/>
          <a:lstStyle/>
          <a:p>
            <a:fld id="{46721817-0F81-40DA-AA0E-83888861526E}" type="slidenum">
              <a:rPr lang="en-US" smtClean="0"/>
              <a:t>‹#›</a:t>
            </a:fld>
            <a:endParaRPr lang="en-US"/>
          </a:p>
        </p:txBody>
      </p:sp>
    </p:spTree>
    <p:extLst>
      <p:ext uri="{BB962C8B-B14F-4D97-AF65-F5344CB8AC3E}">
        <p14:creationId xmlns:p14="http://schemas.microsoft.com/office/powerpoint/2010/main" val="33235566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407078-E010-48E2-8080-F6AE405BDB3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A7F7552-B1B5-4E09-88D5-F96407EA36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8B15A2F-C87A-481E-BE4A-64513478FA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9A8F687-2FFD-47AA-B0DB-20CA699B1633}"/>
              </a:ext>
            </a:extLst>
          </p:cNvPr>
          <p:cNvSpPr>
            <a:spLocks noGrp="1"/>
          </p:cNvSpPr>
          <p:nvPr>
            <p:ph type="dt" sz="half" idx="10"/>
          </p:nvPr>
        </p:nvSpPr>
        <p:spPr/>
        <p:txBody>
          <a:bodyPr/>
          <a:lstStyle/>
          <a:p>
            <a:fld id="{7908013E-FEA1-4445-9DE7-44F3C33C0BF0}" type="datetimeFigureOut">
              <a:rPr lang="en-US" smtClean="0"/>
              <a:t>7/6/2023</a:t>
            </a:fld>
            <a:endParaRPr lang="en-US"/>
          </a:p>
        </p:txBody>
      </p:sp>
      <p:sp>
        <p:nvSpPr>
          <p:cNvPr id="6" name="Footer Placeholder 5">
            <a:extLst>
              <a:ext uri="{FF2B5EF4-FFF2-40B4-BE49-F238E27FC236}">
                <a16:creationId xmlns:a16="http://schemas.microsoft.com/office/drawing/2014/main" id="{1DCB947D-40D9-40BF-8E73-9349388D3D0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1CD3785-513F-49F8-A7E8-9F0F65B6B3FD}"/>
              </a:ext>
            </a:extLst>
          </p:cNvPr>
          <p:cNvSpPr>
            <a:spLocks noGrp="1"/>
          </p:cNvSpPr>
          <p:nvPr>
            <p:ph type="sldNum" sz="quarter" idx="12"/>
          </p:nvPr>
        </p:nvSpPr>
        <p:spPr/>
        <p:txBody>
          <a:bodyPr/>
          <a:lstStyle/>
          <a:p>
            <a:fld id="{46721817-0F81-40DA-AA0E-83888861526E}" type="slidenum">
              <a:rPr lang="en-US" smtClean="0"/>
              <a:t>‹#›</a:t>
            </a:fld>
            <a:endParaRPr lang="en-US"/>
          </a:p>
        </p:txBody>
      </p:sp>
    </p:spTree>
    <p:extLst>
      <p:ext uri="{BB962C8B-B14F-4D97-AF65-F5344CB8AC3E}">
        <p14:creationId xmlns:p14="http://schemas.microsoft.com/office/powerpoint/2010/main" val="11836992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66BC5E-E28C-4134-AC03-D7DC46BA328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3E45657-BE39-40C7-945B-ADE0C6F2F2D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A26B2D7-9B06-4644-B494-DAC5B70CB5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AD58B07-91C8-4642-B1F2-24086BB2C1D8}"/>
              </a:ext>
            </a:extLst>
          </p:cNvPr>
          <p:cNvSpPr>
            <a:spLocks noGrp="1"/>
          </p:cNvSpPr>
          <p:nvPr>
            <p:ph type="dt" sz="half" idx="10"/>
          </p:nvPr>
        </p:nvSpPr>
        <p:spPr/>
        <p:txBody>
          <a:bodyPr/>
          <a:lstStyle/>
          <a:p>
            <a:fld id="{7908013E-FEA1-4445-9DE7-44F3C33C0BF0}" type="datetimeFigureOut">
              <a:rPr lang="en-US" smtClean="0"/>
              <a:t>7/6/2023</a:t>
            </a:fld>
            <a:endParaRPr lang="en-US"/>
          </a:p>
        </p:txBody>
      </p:sp>
      <p:sp>
        <p:nvSpPr>
          <p:cNvPr id="6" name="Footer Placeholder 5">
            <a:extLst>
              <a:ext uri="{FF2B5EF4-FFF2-40B4-BE49-F238E27FC236}">
                <a16:creationId xmlns:a16="http://schemas.microsoft.com/office/drawing/2014/main" id="{8B09AD0C-EF00-4140-8328-2DFE46D4DB4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9AEAC00-778C-4A5E-A22A-1267D2727893}"/>
              </a:ext>
            </a:extLst>
          </p:cNvPr>
          <p:cNvSpPr>
            <a:spLocks noGrp="1"/>
          </p:cNvSpPr>
          <p:nvPr>
            <p:ph type="sldNum" sz="quarter" idx="12"/>
          </p:nvPr>
        </p:nvSpPr>
        <p:spPr/>
        <p:txBody>
          <a:bodyPr/>
          <a:lstStyle/>
          <a:p>
            <a:fld id="{46721817-0F81-40DA-AA0E-83888861526E}" type="slidenum">
              <a:rPr lang="en-US" smtClean="0"/>
              <a:t>‹#›</a:t>
            </a:fld>
            <a:endParaRPr lang="en-US"/>
          </a:p>
        </p:txBody>
      </p:sp>
    </p:spTree>
    <p:extLst>
      <p:ext uri="{BB962C8B-B14F-4D97-AF65-F5344CB8AC3E}">
        <p14:creationId xmlns:p14="http://schemas.microsoft.com/office/powerpoint/2010/main" val="32451236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BACFA-395A-4B7A-8A9F-DDA17302B31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5D7D264-82A4-4ABA-9483-1B8D85E0783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9C5321-2B9B-4DA3-9F42-F5D6B3E0F665}"/>
              </a:ext>
            </a:extLst>
          </p:cNvPr>
          <p:cNvSpPr>
            <a:spLocks noGrp="1"/>
          </p:cNvSpPr>
          <p:nvPr>
            <p:ph type="dt" sz="half" idx="10"/>
          </p:nvPr>
        </p:nvSpPr>
        <p:spPr/>
        <p:txBody>
          <a:bodyPr/>
          <a:lstStyle/>
          <a:p>
            <a:fld id="{7908013E-FEA1-4445-9DE7-44F3C33C0BF0}" type="datetimeFigureOut">
              <a:rPr lang="en-US" smtClean="0"/>
              <a:t>7/6/2023</a:t>
            </a:fld>
            <a:endParaRPr lang="en-US"/>
          </a:p>
        </p:txBody>
      </p:sp>
      <p:sp>
        <p:nvSpPr>
          <p:cNvPr id="5" name="Footer Placeholder 4">
            <a:extLst>
              <a:ext uri="{FF2B5EF4-FFF2-40B4-BE49-F238E27FC236}">
                <a16:creationId xmlns:a16="http://schemas.microsoft.com/office/drawing/2014/main" id="{019BA6AD-6BFC-472F-BDC6-3DD6965995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5DCEE6C-B1CA-48F5-9304-F54288610D9B}"/>
              </a:ext>
            </a:extLst>
          </p:cNvPr>
          <p:cNvSpPr>
            <a:spLocks noGrp="1"/>
          </p:cNvSpPr>
          <p:nvPr>
            <p:ph type="sldNum" sz="quarter" idx="12"/>
          </p:nvPr>
        </p:nvSpPr>
        <p:spPr/>
        <p:txBody>
          <a:bodyPr/>
          <a:lstStyle/>
          <a:p>
            <a:fld id="{46721817-0F81-40DA-AA0E-83888861526E}" type="slidenum">
              <a:rPr lang="en-US" smtClean="0"/>
              <a:t>‹#›</a:t>
            </a:fld>
            <a:endParaRPr lang="en-US"/>
          </a:p>
        </p:txBody>
      </p:sp>
    </p:spTree>
    <p:extLst>
      <p:ext uri="{BB962C8B-B14F-4D97-AF65-F5344CB8AC3E}">
        <p14:creationId xmlns:p14="http://schemas.microsoft.com/office/powerpoint/2010/main" val="97089242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5539F83-A5AC-4EDF-9B36-E40747F394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B6E1B65-C6E8-4352-9C9F-FA5096070B6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B62E2C-365F-4F31-8959-4919183578D7}"/>
              </a:ext>
            </a:extLst>
          </p:cNvPr>
          <p:cNvSpPr>
            <a:spLocks noGrp="1"/>
          </p:cNvSpPr>
          <p:nvPr>
            <p:ph type="dt" sz="half" idx="10"/>
          </p:nvPr>
        </p:nvSpPr>
        <p:spPr/>
        <p:txBody>
          <a:bodyPr/>
          <a:lstStyle/>
          <a:p>
            <a:fld id="{7908013E-FEA1-4445-9DE7-44F3C33C0BF0}" type="datetimeFigureOut">
              <a:rPr lang="en-US" smtClean="0"/>
              <a:t>7/6/2023</a:t>
            </a:fld>
            <a:endParaRPr lang="en-US"/>
          </a:p>
        </p:txBody>
      </p:sp>
      <p:sp>
        <p:nvSpPr>
          <p:cNvPr id="5" name="Footer Placeholder 4">
            <a:extLst>
              <a:ext uri="{FF2B5EF4-FFF2-40B4-BE49-F238E27FC236}">
                <a16:creationId xmlns:a16="http://schemas.microsoft.com/office/drawing/2014/main" id="{30C96FEC-7A87-4DF3-A2BE-9EB5B596CE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6201CB-F4CE-4B70-A13B-98FD40040FE0}"/>
              </a:ext>
            </a:extLst>
          </p:cNvPr>
          <p:cNvSpPr>
            <a:spLocks noGrp="1"/>
          </p:cNvSpPr>
          <p:nvPr>
            <p:ph type="sldNum" sz="quarter" idx="12"/>
          </p:nvPr>
        </p:nvSpPr>
        <p:spPr/>
        <p:txBody>
          <a:bodyPr/>
          <a:lstStyle/>
          <a:p>
            <a:fld id="{46721817-0F81-40DA-AA0E-83888861526E}" type="slidenum">
              <a:rPr lang="en-US" smtClean="0"/>
              <a:t>‹#›</a:t>
            </a:fld>
            <a:endParaRPr lang="en-US"/>
          </a:p>
        </p:txBody>
      </p:sp>
    </p:spTree>
    <p:extLst>
      <p:ext uri="{BB962C8B-B14F-4D97-AF65-F5344CB8AC3E}">
        <p14:creationId xmlns:p14="http://schemas.microsoft.com/office/powerpoint/2010/main" val="38420852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737437"/>
            <a:ext cx="3352800" cy="1993390"/>
          </a:xfrm>
        </p:spPr>
        <p:txBody>
          <a:bodyPr vert="horz" lIns="0" tIns="45720" rIns="0" bIns="0" rtlCol="0" anchor="t" anchorCtr="0">
            <a:noAutofit/>
          </a:bodyPr>
          <a:lstStyle>
            <a:lvl1pPr>
              <a:defRPr lang="en-US" sz="3600" spc="-75" dirty="0">
                <a:latin typeface="+mn-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00" baseline="0" dirty="0">
                <a:solidFill>
                  <a:schemeClr val="bg2">
                    <a:lumMod val="90000"/>
                  </a:schemeClr>
                </a:solidFill>
                <a:ea typeface="Nexa Black" charset="0"/>
                <a:cs typeface="Nexa Black" charset="0"/>
              </a:defRPr>
            </a:lvl1pPr>
          </a:lstStyle>
          <a:p>
            <a:pPr marL="228600" lvl="0" indent="-228600"/>
            <a:r>
              <a:rPr lang="en-US"/>
              <a:t>Topic</a:t>
            </a:r>
          </a:p>
        </p:txBody>
      </p:sp>
      <p:sp>
        <p:nvSpPr>
          <p:cNvPr id="5" name="Text Placeholder 4"/>
          <p:cNvSpPr>
            <a:spLocks noGrp="1"/>
          </p:cNvSpPr>
          <p:nvPr>
            <p:ph type="body" sz="quarter" idx="16" hasCustomPrompt="1"/>
          </p:nvPr>
        </p:nvSpPr>
        <p:spPr>
          <a:xfrm>
            <a:off x="914400" y="2662518"/>
            <a:ext cx="3355975" cy="1169988"/>
          </a:xfrm>
        </p:spPr>
        <p:txBody>
          <a:bodyPr/>
          <a:lstStyle>
            <a:lvl1pPr marL="0" indent="0">
              <a:lnSpc>
                <a:spcPct val="130000"/>
              </a:lnSpc>
              <a:buNone/>
              <a:defRPr sz="1200" baseline="0"/>
            </a:lvl1pPr>
          </a:lstStyle>
          <a:p>
            <a:pPr lvl="0"/>
            <a:r>
              <a:rPr lang="en-US"/>
              <a:t>Click to edit Master text styles</a:t>
            </a:r>
          </a:p>
        </p:txBody>
      </p:sp>
      <p:sp>
        <p:nvSpPr>
          <p:cNvPr id="9" name="Picture Placeholder 1">
            <a:extLst>
              <a:ext uri="{FF2B5EF4-FFF2-40B4-BE49-F238E27FC236}">
                <a16:creationId xmlns:a16="http://schemas.microsoft.com/office/drawing/2014/main" id="{9A78AB07-84F1-4840-9342-D92F7AFBBC46}"/>
              </a:ext>
            </a:extLst>
          </p:cNvPr>
          <p:cNvSpPr>
            <a:spLocks noGrp="1"/>
          </p:cNvSpPr>
          <p:nvPr>
            <p:ph type="pic" sz="quarter" idx="18"/>
          </p:nvPr>
        </p:nvSpPr>
        <p:spPr>
          <a:xfrm>
            <a:off x="5410200" y="1104900"/>
            <a:ext cx="1679369" cy="1341417"/>
          </a:xfrm>
        </p:spPr>
      </p:sp>
      <p:sp>
        <p:nvSpPr>
          <p:cNvPr id="10" name="Picture Placeholder 1">
            <a:extLst>
              <a:ext uri="{FF2B5EF4-FFF2-40B4-BE49-F238E27FC236}">
                <a16:creationId xmlns:a16="http://schemas.microsoft.com/office/drawing/2014/main" id="{A6418CF8-ABDB-254E-ADDF-7733E2BF2402}"/>
              </a:ext>
            </a:extLst>
          </p:cNvPr>
          <p:cNvSpPr>
            <a:spLocks noGrp="1"/>
          </p:cNvSpPr>
          <p:nvPr>
            <p:ph type="pic" sz="quarter" idx="19"/>
          </p:nvPr>
        </p:nvSpPr>
        <p:spPr>
          <a:xfrm>
            <a:off x="5410200" y="2785260"/>
            <a:ext cx="1679369" cy="1341417"/>
          </a:xfrm>
        </p:spPr>
      </p:sp>
      <p:sp>
        <p:nvSpPr>
          <p:cNvPr id="11" name="Picture Placeholder 1">
            <a:extLst>
              <a:ext uri="{FF2B5EF4-FFF2-40B4-BE49-F238E27FC236}">
                <a16:creationId xmlns:a16="http://schemas.microsoft.com/office/drawing/2014/main" id="{2342E74E-2590-0143-99DC-6A21BEF920E0}"/>
              </a:ext>
            </a:extLst>
          </p:cNvPr>
          <p:cNvSpPr>
            <a:spLocks noGrp="1"/>
          </p:cNvSpPr>
          <p:nvPr>
            <p:ph type="pic" sz="quarter" idx="20"/>
          </p:nvPr>
        </p:nvSpPr>
        <p:spPr>
          <a:xfrm>
            <a:off x="5410200" y="4465619"/>
            <a:ext cx="1679369" cy="1341417"/>
          </a:xfrm>
        </p:spPr>
      </p:sp>
    </p:spTree>
    <p:extLst>
      <p:ext uri="{BB962C8B-B14F-4D97-AF65-F5344CB8AC3E}">
        <p14:creationId xmlns:p14="http://schemas.microsoft.com/office/powerpoint/2010/main" val="13437775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7337EA-F363-4DE7-802D-AA8E13E907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575FDA4-EB94-4264-B120-EF5798561D1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75E3854-A389-4EA7-AEDA-A4D46F87FE85}"/>
              </a:ext>
            </a:extLst>
          </p:cNvPr>
          <p:cNvSpPr>
            <a:spLocks noGrp="1"/>
          </p:cNvSpPr>
          <p:nvPr>
            <p:ph type="dt" sz="half" idx="10"/>
          </p:nvPr>
        </p:nvSpPr>
        <p:spPr/>
        <p:txBody>
          <a:bodyPr/>
          <a:lstStyle/>
          <a:p>
            <a:fld id="{7908013E-FEA1-4445-9DE7-44F3C33C0BF0}" type="datetimeFigureOut">
              <a:rPr lang="en-US" smtClean="0"/>
              <a:t>7/6/2023</a:t>
            </a:fld>
            <a:endParaRPr lang="en-US"/>
          </a:p>
        </p:txBody>
      </p:sp>
      <p:sp>
        <p:nvSpPr>
          <p:cNvPr id="5" name="Footer Placeholder 4">
            <a:extLst>
              <a:ext uri="{FF2B5EF4-FFF2-40B4-BE49-F238E27FC236}">
                <a16:creationId xmlns:a16="http://schemas.microsoft.com/office/drawing/2014/main" id="{A8AFE86B-3F8E-4916-B0D7-A31D68919E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E463A3-BD1E-43D8-B9FB-069796D1334D}"/>
              </a:ext>
            </a:extLst>
          </p:cNvPr>
          <p:cNvSpPr>
            <a:spLocks noGrp="1"/>
          </p:cNvSpPr>
          <p:nvPr>
            <p:ph type="sldNum" sz="quarter" idx="12"/>
          </p:nvPr>
        </p:nvSpPr>
        <p:spPr/>
        <p:txBody>
          <a:bodyPr/>
          <a:lstStyle/>
          <a:p>
            <a:fld id="{46721817-0F81-40DA-AA0E-83888861526E}" type="slidenum">
              <a:rPr lang="en-US" smtClean="0"/>
              <a:t>‹#›</a:t>
            </a:fld>
            <a:endParaRPr lang="en-US"/>
          </a:p>
        </p:txBody>
      </p:sp>
    </p:spTree>
    <p:extLst>
      <p:ext uri="{BB962C8B-B14F-4D97-AF65-F5344CB8AC3E}">
        <p14:creationId xmlns:p14="http://schemas.microsoft.com/office/powerpoint/2010/main" val="19124935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83D62F-62FC-4CDC-B2DD-6749B34DED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7A54670-9607-4438-B851-EB5FB5E5076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3D6427-4C42-42A7-9CC4-502594AB9A04}"/>
              </a:ext>
            </a:extLst>
          </p:cNvPr>
          <p:cNvSpPr>
            <a:spLocks noGrp="1"/>
          </p:cNvSpPr>
          <p:nvPr>
            <p:ph type="dt" sz="half" idx="10"/>
          </p:nvPr>
        </p:nvSpPr>
        <p:spPr/>
        <p:txBody>
          <a:bodyPr/>
          <a:lstStyle/>
          <a:p>
            <a:fld id="{7908013E-FEA1-4445-9DE7-44F3C33C0BF0}" type="datetimeFigureOut">
              <a:rPr lang="en-US" smtClean="0"/>
              <a:t>7/6/2023</a:t>
            </a:fld>
            <a:endParaRPr lang="en-US"/>
          </a:p>
        </p:txBody>
      </p:sp>
      <p:sp>
        <p:nvSpPr>
          <p:cNvPr id="5" name="Footer Placeholder 4">
            <a:extLst>
              <a:ext uri="{FF2B5EF4-FFF2-40B4-BE49-F238E27FC236}">
                <a16:creationId xmlns:a16="http://schemas.microsoft.com/office/drawing/2014/main" id="{157B9EE0-AF52-4AAE-B2E6-EE8A6A26B8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5202DE-FF44-44A2-84E2-533A21735806}"/>
              </a:ext>
            </a:extLst>
          </p:cNvPr>
          <p:cNvSpPr>
            <a:spLocks noGrp="1"/>
          </p:cNvSpPr>
          <p:nvPr>
            <p:ph type="sldNum" sz="quarter" idx="12"/>
          </p:nvPr>
        </p:nvSpPr>
        <p:spPr/>
        <p:txBody>
          <a:bodyPr/>
          <a:lstStyle/>
          <a:p>
            <a:fld id="{46721817-0F81-40DA-AA0E-83888861526E}" type="slidenum">
              <a:rPr lang="en-US" smtClean="0"/>
              <a:t>‹#›</a:t>
            </a:fld>
            <a:endParaRPr lang="en-US"/>
          </a:p>
        </p:txBody>
      </p:sp>
    </p:spTree>
    <p:extLst>
      <p:ext uri="{BB962C8B-B14F-4D97-AF65-F5344CB8AC3E}">
        <p14:creationId xmlns:p14="http://schemas.microsoft.com/office/powerpoint/2010/main" val="21868918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8907C-5CAB-4567-911C-48863ED7D43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0000EA2-7950-43CD-985C-462216DEB23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533850D-015D-46CA-A562-5043B9C1565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DCC09B0-78E0-4B78-A43D-5637A200E3D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0D1AF6E-D873-4C91-BAC5-DD33448E0BD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5980BE9-21CE-487A-B2D0-90F856ACFD79}"/>
              </a:ext>
            </a:extLst>
          </p:cNvPr>
          <p:cNvSpPr>
            <a:spLocks noGrp="1"/>
          </p:cNvSpPr>
          <p:nvPr>
            <p:ph type="dt" sz="half" idx="10"/>
          </p:nvPr>
        </p:nvSpPr>
        <p:spPr/>
        <p:txBody>
          <a:bodyPr/>
          <a:lstStyle/>
          <a:p>
            <a:fld id="{5031F1E8-EF51-4A63-AA95-54B1BF6B3EE4}" type="datetimeFigureOut">
              <a:rPr lang="en-US" smtClean="0"/>
              <a:t>7/6/2023</a:t>
            </a:fld>
            <a:endParaRPr lang="en-US"/>
          </a:p>
        </p:txBody>
      </p:sp>
      <p:sp>
        <p:nvSpPr>
          <p:cNvPr id="8" name="Footer Placeholder 7">
            <a:extLst>
              <a:ext uri="{FF2B5EF4-FFF2-40B4-BE49-F238E27FC236}">
                <a16:creationId xmlns:a16="http://schemas.microsoft.com/office/drawing/2014/main" id="{2B30FAFF-FDBE-4547-A942-0E53C75840F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F450EA0-EE64-40F8-ABF9-5AE1A1C1D369}"/>
              </a:ext>
            </a:extLst>
          </p:cNvPr>
          <p:cNvSpPr>
            <a:spLocks noGrp="1"/>
          </p:cNvSpPr>
          <p:nvPr>
            <p:ph type="sldNum" sz="quarter" idx="12"/>
          </p:nvPr>
        </p:nvSpPr>
        <p:spPr/>
        <p:txBody>
          <a:bodyPr/>
          <a:lstStyle/>
          <a:p>
            <a:fld id="{AC746E64-7E2E-4904-9B11-ADCDD3191AF1}" type="slidenum">
              <a:rPr lang="en-US" smtClean="0"/>
              <a:t>‹#›</a:t>
            </a:fld>
            <a:endParaRPr lang="en-US"/>
          </a:p>
        </p:txBody>
      </p:sp>
    </p:spTree>
    <p:extLst>
      <p:ext uri="{BB962C8B-B14F-4D97-AF65-F5344CB8AC3E}">
        <p14:creationId xmlns:p14="http://schemas.microsoft.com/office/powerpoint/2010/main" val="30735958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60CC9-7D70-47A9-846A-2DC985821EF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401A928-0A1E-4B1A-A677-BEDCF8627D3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53EFF43-0A0B-47A8-864E-22BCADEEE2E5}"/>
              </a:ext>
            </a:extLst>
          </p:cNvPr>
          <p:cNvSpPr>
            <a:spLocks noGrp="1"/>
          </p:cNvSpPr>
          <p:nvPr>
            <p:ph type="dt" sz="half" idx="10"/>
          </p:nvPr>
        </p:nvSpPr>
        <p:spPr/>
        <p:txBody>
          <a:bodyPr/>
          <a:lstStyle/>
          <a:p>
            <a:fld id="{7908013E-FEA1-4445-9DE7-44F3C33C0BF0}" type="datetimeFigureOut">
              <a:rPr lang="en-US" smtClean="0"/>
              <a:t>7/6/2023</a:t>
            </a:fld>
            <a:endParaRPr lang="en-US"/>
          </a:p>
        </p:txBody>
      </p:sp>
      <p:sp>
        <p:nvSpPr>
          <p:cNvPr id="5" name="Footer Placeholder 4">
            <a:extLst>
              <a:ext uri="{FF2B5EF4-FFF2-40B4-BE49-F238E27FC236}">
                <a16:creationId xmlns:a16="http://schemas.microsoft.com/office/drawing/2014/main" id="{1D186A71-7A9E-4093-9365-446D74E51E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AA2F77-AFD8-4912-BF0D-C44E8459930F}"/>
              </a:ext>
            </a:extLst>
          </p:cNvPr>
          <p:cNvSpPr>
            <a:spLocks noGrp="1"/>
          </p:cNvSpPr>
          <p:nvPr>
            <p:ph type="sldNum" sz="quarter" idx="12"/>
          </p:nvPr>
        </p:nvSpPr>
        <p:spPr/>
        <p:txBody>
          <a:bodyPr/>
          <a:lstStyle/>
          <a:p>
            <a:fld id="{46721817-0F81-40DA-AA0E-83888861526E}" type="slidenum">
              <a:rPr lang="en-US" smtClean="0"/>
              <a:t>‹#›</a:t>
            </a:fld>
            <a:endParaRPr lang="en-US"/>
          </a:p>
        </p:txBody>
      </p:sp>
    </p:spTree>
    <p:extLst>
      <p:ext uri="{BB962C8B-B14F-4D97-AF65-F5344CB8AC3E}">
        <p14:creationId xmlns:p14="http://schemas.microsoft.com/office/powerpoint/2010/main" val="18186009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63D63-AE1D-4903-B7D9-DD244244B05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232B957-1227-48DA-98BC-5C8B68D6E44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CC1BF75-9B50-4D5B-B07D-B5499D3E412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69B9A12-8AF9-42F9-86CC-38C7A7B75F6E}"/>
              </a:ext>
            </a:extLst>
          </p:cNvPr>
          <p:cNvSpPr>
            <a:spLocks noGrp="1"/>
          </p:cNvSpPr>
          <p:nvPr>
            <p:ph type="dt" sz="half" idx="10"/>
          </p:nvPr>
        </p:nvSpPr>
        <p:spPr/>
        <p:txBody>
          <a:bodyPr/>
          <a:lstStyle/>
          <a:p>
            <a:fld id="{7908013E-FEA1-4445-9DE7-44F3C33C0BF0}" type="datetimeFigureOut">
              <a:rPr lang="en-US" smtClean="0"/>
              <a:t>7/6/2023</a:t>
            </a:fld>
            <a:endParaRPr lang="en-US"/>
          </a:p>
        </p:txBody>
      </p:sp>
      <p:sp>
        <p:nvSpPr>
          <p:cNvPr id="6" name="Footer Placeholder 5">
            <a:extLst>
              <a:ext uri="{FF2B5EF4-FFF2-40B4-BE49-F238E27FC236}">
                <a16:creationId xmlns:a16="http://schemas.microsoft.com/office/drawing/2014/main" id="{64735C81-FC24-475F-8C13-6D2FA3BE836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B4FCA60-B93F-4D7E-BF43-352166190E51}"/>
              </a:ext>
            </a:extLst>
          </p:cNvPr>
          <p:cNvSpPr>
            <a:spLocks noGrp="1"/>
          </p:cNvSpPr>
          <p:nvPr>
            <p:ph type="sldNum" sz="quarter" idx="12"/>
          </p:nvPr>
        </p:nvSpPr>
        <p:spPr/>
        <p:txBody>
          <a:bodyPr/>
          <a:lstStyle/>
          <a:p>
            <a:fld id="{46721817-0F81-40DA-AA0E-83888861526E}" type="slidenum">
              <a:rPr lang="en-US" smtClean="0"/>
              <a:t>‹#›</a:t>
            </a:fld>
            <a:endParaRPr lang="en-US"/>
          </a:p>
        </p:txBody>
      </p:sp>
    </p:spTree>
    <p:extLst>
      <p:ext uri="{BB962C8B-B14F-4D97-AF65-F5344CB8AC3E}">
        <p14:creationId xmlns:p14="http://schemas.microsoft.com/office/powerpoint/2010/main" val="288376472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B03CDB-2319-43B1-AA1E-DFC2C8A8F8F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036DE45-1195-49E7-AD00-7582B0963C7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F10A441-22F7-498F-94BE-6FF2E37D5F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24E61B7-5D38-4FDE-B4AC-F64F333F5A7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6365E15-CF34-4900-AE19-6C0D7A78F4B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0142888-7484-4BAD-AE67-F35FA22E2A1C}"/>
              </a:ext>
            </a:extLst>
          </p:cNvPr>
          <p:cNvSpPr>
            <a:spLocks noGrp="1"/>
          </p:cNvSpPr>
          <p:nvPr>
            <p:ph type="dt" sz="half" idx="10"/>
          </p:nvPr>
        </p:nvSpPr>
        <p:spPr/>
        <p:txBody>
          <a:bodyPr/>
          <a:lstStyle/>
          <a:p>
            <a:fld id="{7908013E-FEA1-4445-9DE7-44F3C33C0BF0}" type="datetimeFigureOut">
              <a:rPr lang="en-US" smtClean="0"/>
              <a:t>7/6/2023</a:t>
            </a:fld>
            <a:endParaRPr lang="en-US"/>
          </a:p>
        </p:txBody>
      </p:sp>
      <p:sp>
        <p:nvSpPr>
          <p:cNvPr id="8" name="Footer Placeholder 7">
            <a:extLst>
              <a:ext uri="{FF2B5EF4-FFF2-40B4-BE49-F238E27FC236}">
                <a16:creationId xmlns:a16="http://schemas.microsoft.com/office/drawing/2014/main" id="{68CD63BC-1F9C-4845-921D-8A74415169D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1F177C3-AC1A-4FFE-8A1F-52AAF4B8B53E}"/>
              </a:ext>
            </a:extLst>
          </p:cNvPr>
          <p:cNvSpPr>
            <a:spLocks noGrp="1"/>
          </p:cNvSpPr>
          <p:nvPr>
            <p:ph type="sldNum" sz="quarter" idx="12"/>
          </p:nvPr>
        </p:nvSpPr>
        <p:spPr/>
        <p:txBody>
          <a:bodyPr/>
          <a:lstStyle/>
          <a:p>
            <a:fld id="{46721817-0F81-40DA-AA0E-83888861526E}" type="slidenum">
              <a:rPr lang="en-US" smtClean="0"/>
              <a:t>‹#›</a:t>
            </a:fld>
            <a:endParaRPr lang="en-US"/>
          </a:p>
        </p:txBody>
      </p:sp>
    </p:spTree>
    <p:extLst>
      <p:ext uri="{BB962C8B-B14F-4D97-AF65-F5344CB8AC3E}">
        <p14:creationId xmlns:p14="http://schemas.microsoft.com/office/powerpoint/2010/main" val="93060148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B0CDD7-09EB-43F0-9A44-60B3FF62D67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F3B393D-0391-4C73-BFFA-E5C66AA1459F}"/>
              </a:ext>
            </a:extLst>
          </p:cNvPr>
          <p:cNvSpPr>
            <a:spLocks noGrp="1"/>
          </p:cNvSpPr>
          <p:nvPr>
            <p:ph type="dt" sz="half" idx="10"/>
          </p:nvPr>
        </p:nvSpPr>
        <p:spPr/>
        <p:txBody>
          <a:bodyPr/>
          <a:lstStyle/>
          <a:p>
            <a:fld id="{7908013E-FEA1-4445-9DE7-44F3C33C0BF0}" type="datetimeFigureOut">
              <a:rPr lang="en-US" smtClean="0"/>
              <a:t>7/6/2023</a:t>
            </a:fld>
            <a:endParaRPr lang="en-US"/>
          </a:p>
        </p:txBody>
      </p:sp>
      <p:sp>
        <p:nvSpPr>
          <p:cNvPr id="4" name="Footer Placeholder 3">
            <a:extLst>
              <a:ext uri="{FF2B5EF4-FFF2-40B4-BE49-F238E27FC236}">
                <a16:creationId xmlns:a16="http://schemas.microsoft.com/office/drawing/2014/main" id="{93D31667-A90C-40AE-9DD7-9811B66A953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577CFC1-8EBC-41A0-A4C3-CB78C2FDB176}"/>
              </a:ext>
            </a:extLst>
          </p:cNvPr>
          <p:cNvSpPr>
            <a:spLocks noGrp="1"/>
          </p:cNvSpPr>
          <p:nvPr>
            <p:ph type="sldNum" sz="quarter" idx="12"/>
          </p:nvPr>
        </p:nvSpPr>
        <p:spPr/>
        <p:txBody>
          <a:bodyPr/>
          <a:lstStyle/>
          <a:p>
            <a:fld id="{46721817-0F81-40DA-AA0E-83888861526E}" type="slidenum">
              <a:rPr lang="en-US" smtClean="0"/>
              <a:t>‹#›</a:t>
            </a:fld>
            <a:endParaRPr lang="en-US"/>
          </a:p>
        </p:txBody>
      </p:sp>
    </p:spTree>
    <p:extLst>
      <p:ext uri="{BB962C8B-B14F-4D97-AF65-F5344CB8AC3E}">
        <p14:creationId xmlns:p14="http://schemas.microsoft.com/office/powerpoint/2010/main" val="8381919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4763D11-C581-4627-B106-D804FB95AAAC}"/>
              </a:ext>
            </a:extLst>
          </p:cNvPr>
          <p:cNvSpPr>
            <a:spLocks noGrp="1"/>
          </p:cNvSpPr>
          <p:nvPr>
            <p:ph type="dt" sz="half" idx="10"/>
          </p:nvPr>
        </p:nvSpPr>
        <p:spPr/>
        <p:txBody>
          <a:bodyPr/>
          <a:lstStyle/>
          <a:p>
            <a:fld id="{7908013E-FEA1-4445-9DE7-44F3C33C0BF0}" type="datetimeFigureOut">
              <a:rPr lang="en-US" smtClean="0"/>
              <a:t>7/6/2023</a:t>
            </a:fld>
            <a:endParaRPr lang="en-US"/>
          </a:p>
        </p:txBody>
      </p:sp>
      <p:sp>
        <p:nvSpPr>
          <p:cNvPr id="3" name="Footer Placeholder 2">
            <a:extLst>
              <a:ext uri="{FF2B5EF4-FFF2-40B4-BE49-F238E27FC236}">
                <a16:creationId xmlns:a16="http://schemas.microsoft.com/office/drawing/2014/main" id="{73F30E3D-176C-43CD-9DBD-2AF56216E8F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0D8848F-57D9-4D05-BA42-744E168FADA4}"/>
              </a:ext>
            </a:extLst>
          </p:cNvPr>
          <p:cNvSpPr>
            <a:spLocks noGrp="1"/>
          </p:cNvSpPr>
          <p:nvPr>
            <p:ph type="sldNum" sz="quarter" idx="12"/>
          </p:nvPr>
        </p:nvSpPr>
        <p:spPr/>
        <p:txBody>
          <a:bodyPr/>
          <a:lstStyle/>
          <a:p>
            <a:fld id="{46721817-0F81-40DA-AA0E-83888861526E}" type="slidenum">
              <a:rPr lang="en-US" smtClean="0"/>
              <a:t>‹#›</a:t>
            </a:fld>
            <a:endParaRPr lang="en-US"/>
          </a:p>
        </p:txBody>
      </p:sp>
    </p:spTree>
    <p:extLst>
      <p:ext uri="{BB962C8B-B14F-4D97-AF65-F5344CB8AC3E}">
        <p14:creationId xmlns:p14="http://schemas.microsoft.com/office/powerpoint/2010/main" val="14528427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407078-E010-48E2-8080-F6AE405BDB3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A7F7552-B1B5-4E09-88D5-F96407EA36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8B15A2F-C87A-481E-BE4A-64513478FA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9A8F687-2FFD-47AA-B0DB-20CA699B1633}"/>
              </a:ext>
            </a:extLst>
          </p:cNvPr>
          <p:cNvSpPr>
            <a:spLocks noGrp="1"/>
          </p:cNvSpPr>
          <p:nvPr>
            <p:ph type="dt" sz="half" idx="10"/>
          </p:nvPr>
        </p:nvSpPr>
        <p:spPr/>
        <p:txBody>
          <a:bodyPr/>
          <a:lstStyle/>
          <a:p>
            <a:fld id="{7908013E-FEA1-4445-9DE7-44F3C33C0BF0}" type="datetimeFigureOut">
              <a:rPr lang="en-US" smtClean="0"/>
              <a:t>7/6/2023</a:t>
            </a:fld>
            <a:endParaRPr lang="en-US"/>
          </a:p>
        </p:txBody>
      </p:sp>
      <p:sp>
        <p:nvSpPr>
          <p:cNvPr id="6" name="Footer Placeholder 5">
            <a:extLst>
              <a:ext uri="{FF2B5EF4-FFF2-40B4-BE49-F238E27FC236}">
                <a16:creationId xmlns:a16="http://schemas.microsoft.com/office/drawing/2014/main" id="{1DCB947D-40D9-40BF-8E73-9349388D3D0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1CD3785-513F-49F8-A7E8-9F0F65B6B3FD}"/>
              </a:ext>
            </a:extLst>
          </p:cNvPr>
          <p:cNvSpPr>
            <a:spLocks noGrp="1"/>
          </p:cNvSpPr>
          <p:nvPr>
            <p:ph type="sldNum" sz="quarter" idx="12"/>
          </p:nvPr>
        </p:nvSpPr>
        <p:spPr/>
        <p:txBody>
          <a:bodyPr/>
          <a:lstStyle/>
          <a:p>
            <a:fld id="{46721817-0F81-40DA-AA0E-83888861526E}" type="slidenum">
              <a:rPr lang="en-US" smtClean="0"/>
              <a:t>‹#›</a:t>
            </a:fld>
            <a:endParaRPr lang="en-US"/>
          </a:p>
        </p:txBody>
      </p:sp>
    </p:spTree>
    <p:extLst>
      <p:ext uri="{BB962C8B-B14F-4D97-AF65-F5344CB8AC3E}">
        <p14:creationId xmlns:p14="http://schemas.microsoft.com/office/powerpoint/2010/main" val="18055700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66BC5E-E28C-4134-AC03-D7DC46BA328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3E45657-BE39-40C7-945B-ADE0C6F2F2D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A26B2D7-9B06-4644-B494-DAC5B70CB5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AD58B07-91C8-4642-B1F2-24086BB2C1D8}"/>
              </a:ext>
            </a:extLst>
          </p:cNvPr>
          <p:cNvSpPr>
            <a:spLocks noGrp="1"/>
          </p:cNvSpPr>
          <p:nvPr>
            <p:ph type="dt" sz="half" idx="10"/>
          </p:nvPr>
        </p:nvSpPr>
        <p:spPr/>
        <p:txBody>
          <a:bodyPr/>
          <a:lstStyle/>
          <a:p>
            <a:fld id="{7908013E-FEA1-4445-9DE7-44F3C33C0BF0}" type="datetimeFigureOut">
              <a:rPr lang="en-US" smtClean="0"/>
              <a:t>7/6/2023</a:t>
            </a:fld>
            <a:endParaRPr lang="en-US"/>
          </a:p>
        </p:txBody>
      </p:sp>
      <p:sp>
        <p:nvSpPr>
          <p:cNvPr id="6" name="Footer Placeholder 5">
            <a:extLst>
              <a:ext uri="{FF2B5EF4-FFF2-40B4-BE49-F238E27FC236}">
                <a16:creationId xmlns:a16="http://schemas.microsoft.com/office/drawing/2014/main" id="{8B09AD0C-EF00-4140-8328-2DFE46D4DB4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9AEAC00-778C-4A5E-A22A-1267D2727893}"/>
              </a:ext>
            </a:extLst>
          </p:cNvPr>
          <p:cNvSpPr>
            <a:spLocks noGrp="1"/>
          </p:cNvSpPr>
          <p:nvPr>
            <p:ph type="sldNum" sz="quarter" idx="12"/>
          </p:nvPr>
        </p:nvSpPr>
        <p:spPr/>
        <p:txBody>
          <a:bodyPr/>
          <a:lstStyle/>
          <a:p>
            <a:fld id="{46721817-0F81-40DA-AA0E-83888861526E}" type="slidenum">
              <a:rPr lang="en-US" smtClean="0"/>
              <a:t>‹#›</a:t>
            </a:fld>
            <a:endParaRPr lang="en-US"/>
          </a:p>
        </p:txBody>
      </p:sp>
    </p:spTree>
    <p:extLst>
      <p:ext uri="{BB962C8B-B14F-4D97-AF65-F5344CB8AC3E}">
        <p14:creationId xmlns:p14="http://schemas.microsoft.com/office/powerpoint/2010/main" val="65400267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BACFA-395A-4B7A-8A9F-DDA17302B31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5D7D264-82A4-4ABA-9483-1B8D85E0783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9C5321-2B9B-4DA3-9F42-F5D6B3E0F665}"/>
              </a:ext>
            </a:extLst>
          </p:cNvPr>
          <p:cNvSpPr>
            <a:spLocks noGrp="1"/>
          </p:cNvSpPr>
          <p:nvPr>
            <p:ph type="dt" sz="half" idx="10"/>
          </p:nvPr>
        </p:nvSpPr>
        <p:spPr/>
        <p:txBody>
          <a:bodyPr/>
          <a:lstStyle/>
          <a:p>
            <a:fld id="{7908013E-FEA1-4445-9DE7-44F3C33C0BF0}" type="datetimeFigureOut">
              <a:rPr lang="en-US" smtClean="0"/>
              <a:t>7/6/2023</a:t>
            </a:fld>
            <a:endParaRPr lang="en-US"/>
          </a:p>
        </p:txBody>
      </p:sp>
      <p:sp>
        <p:nvSpPr>
          <p:cNvPr id="5" name="Footer Placeholder 4">
            <a:extLst>
              <a:ext uri="{FF2B5EF4-FFF2-40B4-BE49-F238E27FC236}">
                <a16:creationId xmlns:a16="http://schemas.microsoft.com/office/drawing/2014/main" id="{019BA6AD-6BFC-472F-BDC6-3DD6965995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5DCEE6C-B1CA-48F5-9304-F54288610D9B}"/>
              </a:ext>
            </a:extLst>
          </p:cNvPr>
          <p:cNvSpPr>
            <a:spLocks noGrp="1"/>
          </p:cNvSpPr>
          <p:nvPr>
            <p:ph type="sldNum" sz="quarter" idx="12"/>
          </p:nvPr>
        </p:nvSpPr>
        <p:spPr/>
        <p:txBody>
          <a:bodyPr/>
          <a:lstStyle/>
          <a:p>
            <a:fld id="{46721817-0F81-40DA-AA0E-83888861526E}" type="slidenum">
              <a:rPr lang="en-US" smtClean="0"/>
              <a:t>‹#›</a:t>
            </a:fld>
            <a:endParaRPr lang="en-US"/>
          </a:p>
        </p:txBody>
      </p:sp>
    </p:spTree>
    <p:extLst>
      <p:ext uri="{BB962C8B-B14F-4D97-AF65-F5344CB8AC3E}">
        <p14:creationId xmlns:p14="http://schemas.microsoft.com/office/powerpoint/2010/main" val="244929011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5539F83-A5AC-4EDF-9B36-E40747F394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B6E1B65-C6E8-4352-9C9F-FA5096070B6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B62E2C-365F-4F31-8959-4919183578D7}"/>
              </a:ext>
            </a:extLst>
          </p:cNvPr>
          <p:cNvSpPr>
            <a:spLocks noGrp="1"/>
          </p:cNvSpPr>
          <p:nvPr>
            <p:ph type="dt" sz="half" idx="10"/>
          </p:nvPr>
        </p:nvSpPr>
        <p:spPr/>
        <p:txBody>
          <a:bodyPr/>
          <a:lstStyle/>
          <a:p>
            <a:fld id="{7908013E-FEA1-4445-9DE7-44F3C33C0BF0}" type="datetimeFigureOut">
              <a:rPr lang="en-US" smtClean="0"/>
              <a:t>7/6/2023</a:t>
            </a:fld>
            <a:endParaRPr lang="en-US"/>
          </a:p>
        </p:txBody>
      </p:sp>
      <p:sp>
        <p:nvSpPr>
          <p:cNvPr id="5" name="Footer Placeholder 4">
            <a:extLst>
              <a:ext uri="{FF2B5EF4-FFF2-40B4-BE49-F238E27FC236}">
                <a16:creationId xmlns:a16="http://schemas.microsoft.com/office/drawing/2014/main" id="{30C96FEC-7A87-4DF3-A2BE-9EB5B596CE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6201CB-F4CE-4B70-A13B-98FD40040FE0}"/>
              </a:ext>
            </a:extLst>
          </p:cNvPr>
          <p:cNvSpPr>
            <a:spLocks noGrp="1"/>
          </p:cNvSpPr>
          <p:nvPr>
            <p:ph type="sldNum" sz="quarter" idx="12"/>
          </p:nvPr>
        </p:nvSpPr>
        <p:spPr/>
        <p:txBody>
          <a:bodyPr/>
          <a:lstStyle/>
          <a:p>
            <a:fld id="{46721817-0F81-40DA-AA0E-83888861526E}" type="slidenum">
              <a:rPr lang="en-US" smtClean="0"/>
              <a:t>‹#›</a:t>
            </a:fld>
            <a:endParaRPr lang="en-US"/>
          </a:p>
        </p:txBody>
      </p:sp>
    </p:spTree>
    <p:extLst>
      <p:ext uri="{BB962C8B-B14F-4D97-AF65-F5344CB8AC3E}">
        <p14:creationId xmlns:p14="http://schemas.microsoft.com/office/powerpoint/2010/main" val="16665536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737437"/>
            <a:ext cx="3352800" cy="1993390"/>
          </a:xfrm>
        </p:spPr>
        <p:txBody>
          <a:bodyPr vert="horz" lIns="0" tIns="45720" rIns="0" bIns="0" rtlCol="0" anchor="t" anchorCtr="0">
            <a:noAutofit/>
          </a:bodyPr>
          <a:lstStyle>
            <a:lvl1pPr>
              <a:defRPr lang="en-US" sz="3600" spc="-75" dirty="0">
                <a:latin typeface="+mn-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00" baseline="0" dirty="0">
                <a:solidFill>
                  <a:schemeClr val="bg2">
                    <a:lumMod val="90000"/>
                  </a:schemeClr>
                </a:solidFill>
                <a:ea typeface="Nexa Black" charset="0"/>
                <a:cs typeface="Nexa Black" charset="0"/>
              </a:defRPr>
            </a:lvl1pPr>
          </a:lstStyle>
          <a:p>
            <a:pPr marL="228600" lvl="0" indent="-228600"/>
            <a:r>
              <a:rPr lang="en-US"/>
              <a:t>Topic</a:t>
            </a:r>
          </a:p>
        </p:txBody>
      </p:sp>
      <p:sp>
        <p:nvSpPr>
          <p:cNvPr id="5" name="Text Placeholder 4"/>
          <p:cNvSpPr>
            <a:spLocks noGrp="1"/>
          </p:cNvSpPr>
          <p:nvPr>
            <p:ph type="body" sz="quarter" idx="16" hasCustomPrompt="1"/>
          </p:nvPr>
        </p:nvSpPr>
        <p:spPr>
          <a:xfrm>
            <a:off x="914400" y="2662518"/>
            <a:ext cx="3355975" cy="1169988"/>
          </a:xfrm>
        </p:spPr>
        <p:txBody>
          <a:bodyPr/>
          <a:lstStyle>
            <a:lvl1pPr marL="0" indent="0">
              <a:lnSpc>
                <a:spcPct val="130000"/>
              </a:lnSpc>
              <a:buNone/>
              <a:defRPr sz="1200" baseline="0"/>
            </a:lvl1pPr>
          </a:lstStyle>
          <a:p>
            <a:pPr lvl="0"/>
            <a:r>
              <a:rPr lang="en-US"/>
              <a:t>Click to edit Master text styles</a:t>
            </a:r>
          </a:p>
        </p:txBody>
      </p:sp>
      <p:sp>
        <p:nvSpPr>
          <p:cNvPr id="9" name="Picture Placeholder 1">
            <a:extLst>
              <a:ext uri="{FF2B5EF4-FFF2-40B4-BE49-F238E27FC236}">
                <a16:creationId xmlns:a16="http://schemas.microsoft.com/office/drawing/2014/main" id="{9A78AB07-84F1-4840-9342-D92F7AFBBC46}"/>
              </a:ext>
            </a:extLst>
          </p:cNvPr>
          <p:cNvSpPr>
            <a:spLocks noGrp="1"/>
          </p:cNvSpPr>
          <p:nvPr>
            <p:ph type="pic" sz="quarter" idx="18"/>
          </p:nvPr>
        </p:nvSpPr>
        <p:spPr>
          <a:xfrm>
            <a:off x="5410200" y="1104900"/>
            <a:ext cx="1679369" cy="1341417"/>
          </a:xfrm>
        </p:spPr>
      </p:sp>
      <p:sp>
        <p:nvSpPr>
          <p:cNvPr id="10" name="Picture Placeholder 1">
            <a:extLst>
              <a:ext uri="{FF2B5EF4-FFF2-40B4-BE49-F238E27FC236}">
                <a16:creationId xmlns:a16="http://schemas.microsoft.com/office/drawing/2014/main" id="{A6418CF8-ABDB-254E-ADDF-7733E2BF2402}"/>
              </a:ext>
            </a:extLst>
          </p:cNvPr>
          <p:cNvSpPr>
            <a:spLocks noGrp="1"/>
          </p:cNvSpPr>
          <p:nvPr>
            <p:ph type="pic" sz="quarter" idx="19"/>
          </p:nvPr>
        </p:nvSpPr>
        <p:spPr>
          <a:xfrm>
            <a:off x="5410200" y="2785260"/>
            <a:ext cx="1679369" cy="1341417"/>
          </a:xfrm>
        </p:spPr>
      </p:sp>
      <p:sp>
        <p:nvSpPr>
          <p:cNvPr id="11" name="Picture Placeholder 1">
            <a:extLst>
              <a:ext uri="{FF2B5EF4-FFF2-40B4-BE49-F238E27FC236}">
                <a16:creationId xmlns:a16="http://schemas.microsoft.com/office/drawing/2014/main" id="{2342E74E-2590-0143-99DC-6A21BEF920E0}"/>
              </a:ext>
            </a:extLst>
          </p:cNvPr>
          <p:cNvSpPr>
            <a:spLocks noGrp="1"/>
          </p:cNvSpPr>
          <p:nvPr>
            <p:ph type="pic" sz="quarter" idx="20"/>
          </p:nvPr>
        </p:nvSpPr>
        <p:spPr>
          <a:xfrm>
            <a:off x="5410200" y="4465619"/>
            <a:ext cx="1679369" cy="1341417"/>
          </a:xfrm>
        </p:spPr>
      </p:sp>
    </p:spTree>
    <p:extLst>
      <p:ext uri="{BB962C8B-B14F-4D97-AF65-F5344CB8AC3E}">
        <p14:creationId xmlns:p14="http://schemas.microsoft.com/office/powerpoint/2010/main" val="40066382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C7FA51-15C1-46D3-BDAA-68B71ECDAF8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FE487C1-BC7C-4F2F-85FE-0B75B6B224FE}"/>
              </a:ext>
            </a:extLst>
          </p:cNvPr>
          <p:cNvSpPr>
            <a:spLocks noGrp="1"/>
          </p:cNvSpPr>
          <p:nvPr>
            <p:ph type="dt" sz="half" idx="10"/>
          </p:nvPr>
        </p:nvSpPr>
        <p:spPr/>
        <p:txBody>
          <a:bodyPr/>
          <a:lstStyle/>
          <a:p>
            <a:fld id="{5031F1E8-EF51-4A63-AA95-54B1BF6B3EE4}" type="datetimeFigureOut">
              <a:rPr lang="en-US" smtClean="0"/>
              <a:t>7/6/2023</a:t>
            </a:fld>
            <a:endParaRPr lang="en-US"/>
          </a:p>
        </p:txBody>
      </p:sp>
      <p:sp>
        <p:nvSpPr>
          <p:cNvPr id="4" name="Footer Placeholder 3">
            <a:extLst>
              <a:ext uri="{FF2B5EF4-FFF2-40B4-BE49-F238E27FC236}">
                <a16:creationId xmlns:a16="http://schemas.microsoft.com/office/drawing/2014/main" id="{5DEFFD90-034F-48FF-A5AC-95A3EDDA0F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0078F52-0584-45AD-AE5E-457C0164FC13}"/>
              </a:ext>
            </a:extLst>
          </p:cNvPr>
          <p:cNvSpPr>
            <a:spLocks noGrp="1"/>
          </p:cNvSpPr>
          <p:nvPr>
            <p:ph type="sldNum" sz="quarter" idx="12"/>
          </p:nvPr>
        </p:nvSpPr>
        <p:spPr/>
        <p:txBody>
          <a:bodyPr/>
          <a:lstStyle/>
          <a:p>
            <a:fld id="{AC746E64-7E2E-4904-9B11-ADCDD3191AF1}" type="slidenum">
              <a:rPr lang="en-US" smtClean="0"/>
              <a:t>‹#›</a:t>
            </a:fld>
            <a:endParaRPr lang="en-US"/>
          </a:p>
        </p:txBody>
      </p:sp>
    </p:spTree>
    <p:extLst>
      <p:ext uri="{BB962C8B-B14F-4D97-AF65-F5344CB8AC3E}">
        <p14:creationId xmlns:p14="http://schemas.microsoft.com/office/powerpoint/2010/main" val="126951623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7568605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6AFB98-0D59-49A2-A2D7-52694AB1CF87}"/>
              </a:ext>
            </a:extLst>
          </p:cNvPr>
          <p:cNvSpPr>
            <a:spLocks noGrp="1"/>
          </p:cNvSpPr>
          <p:nvPr>
            <p:ph type="dt" sz="half" idx="10"/>
          </p:nvPr>
        </p:nvSpPr>
        <p:spPr/>
        <p:txBody>
          <a:bodyPr/>
          <a:lstStyle/>
          <a:p>
            <a:fld id="{5031F1E8-EF51-4A63-AA95-54B1BF6B3EE4}" type="datetimeFigureOut">
              <a:rPr lang="en-US" smtClean="0"/>
              <a:t>7/6/2023</a:t>
            </a:fld>
            <a:endParaRPr lang="en-US"/>
          </a:p>
        </p:txBody>
      </p:sp>
      <p:sp>
        <p:nvSpPr>
          <p:cNvPr id="3" name="Footer Placeholder 2">
            <a:extLst>
              <a:ext uri="{FF2B5EF4-FFF2-40B4-BE49-F238E27FC236}">
                <a16:creationId xmlns:a16="http://schemas.microsoft.com/office/drawing/2014/main" id="{F4B26876-519A-460F-AB4D-A8A4DB317BD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ECC4549-F46F-4C1C-B45C-CE079BB9EC0B}"/>
              </a:ext>
            </a:extLst>
          </p:cNvPr>
          <p:cNvSpPr>
            <a:spLocks noGrp="1"/>
          </p:cNvSpPr>
          <p:nvPr>
            <p:ph type="sldNum" sz="quarter" idx="12"/>
          </p:nvPr>
        </p:nvSpPr>
        <p:spPr/>
        <p:txBody>
          <a:bodyPr/>
          <a:lstStyle/>
          <a:p>
            <a:fld id="{AC746E64-7E2E-4904-9B11-ADCDD3191AF1}" type="slidenum">
              <a:rPr lang="en-US" smtClean="0"/>
              <a:t>‹#›</a:t>
            </a:fld>
            <a:endParaRPr lang="en-US"/>
          </a:p>
        </p:txBody>
      </p:sp>
    </p:spTree>
    <p:extLst>
      <p:ext uri="{BB962C8B-B14F-4D97-AF65-F5344CB8AC3E}">
        <p14:creationId xmlns:p14="http://schemas.microsoft.com/office/powerpoint/2010/main" val="9868702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CFEAB-D7BF-4873-BCD6-8442A9AF13C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29551B9-3FED-48AD-AF09-48FF345603E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77D5C7B-30E6-4AEB-AC22-98F7BEA326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E956831-550A-4D31-A495-510B477A1671}"/>
              </a:ext>
            </a:extLst>
          </p:cNvPr>
          <p:cNvSpPr>
            <a:spLocks noGrp="1"/>
          </p:cNvSpPr>
          <p:nvPr>
            <p:ph type="dt" sz="half" idx="10"/>
          </p:nvPr>
        </p:nvSpPr>
        <p:spPr/>
        <p:txBody>
          <a:bodyPr/>
          <a:lstStyle/>
          <a:p>
            <a:fld id="{5031F1E8-EF51-4A63-AA95-54B1BF6B3EE4}" type="datetimeFigureOut">
              <a:rPr lang="en-US" smtClean="0"/>
              <a:t>7/6/2023</a:t>
            </a:fld>
            <a:endParaRPr lang="en-US"/>
          </a:p>
        </p:txBody>
      </p:sp>
      <p:sp>
        <p:nvSpPr>
          <p:cNvPr id="6" name="Footer Placeholder 5">
            <a:extLst>
              <a:ext uri="{FF2B5EF4-FFF2-40B4-BE49-F238E27FC236}">
                <a16:creationId xmlns:a16="http://schemas.microsoft.com/office/drawing/2014/main" id="{5BD22904-3F98-4FF9-8B23-771DF9280FA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E6BC6FB-9BE8-44F3-9005-9AA6ED283A31}"/>
              </a:ext>
            </a:extLst>
          </p:cNvPr>
          <p:cNvSpPr>
            <a:spLocks noGrp="1"/>
          </p:cNvSpPr>
          <p:nvPr>
            <p:ph type="sldNum" sz="quarter" idx="12"/>
          </p:nvPr>
        </p:nvSpPr>
        <p:spPr/>
        <p:txBody>
          <a:bodyPr/>
          <a:lstStyle/>
          <a:p>
            <a:fld id="{AC746E64-7E2E-4904-9B11-ADCDD3191AF1}" type="slidenum">
              <a:rPr lang="en-US" smtClean="0"/>
              <a:t>‹#›</a:t>
            </a:fld>
            <a:endParaRPr lang="en-US"/>
          </a:p>
        </p:txBody>
      </p:sp>
    </p:spTree>
    <p:extLst>
      <p:ext uri="{BB962C8B-B14F-4D97-AF65-F5344CB8AC3E}">
        <p14:creationId xmlns:p14="http://schemas.microsoft.com/office/powerpoint/2010/main" val="26565541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58672-C960-4226-BE68-E1D877E9FB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C967ADA-B136-42DB-8E96-33025930356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EABA1A1-3D4A-4E8C-A58F-FDD369C80BF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84A26B9-03F9-44AB-88AF-F1BACDC562E4}"/>
              </a:ext>
            </a:extLst>
          </p:cNvPr>
          <p:cNvSpPr>
            <a:spLocks noGrp="1"/>
          </p:cNvSpPr>
          <p:nvPr>
            <p:ph type="dt" sz="half" idx="10"/>
          </p:nvPr>
        </p:nvSpPr>
        <p:spPr/>
        <p:txBody>
          <a:bodyPr/>
          <a:lstStyle/>
          <a:p>
            <a:fld id="{5031F1E8-EF51-4A63-AA95-54B1BF6B3EE4}" type="datetimeFigureOut">
              <a:rPr lang="en-US" smtClean="0"/>
              <a:t>7/6/2023</a:t>
            </a:fld>
            <a:endParaRPr lang="en-US"/>
          </a:p>
        </p:txBody>
      </p:sp>
      <p:sp>
        <p:nvSpPr>
          <p:cNvPr id="6" name="Footer Placeholder 5">
            <a:extLst>
              <a:ext uri="{FF2B5EF4-FFF2-40B4-BE49-F238E27FC236}">
                <a16:creationId xmlns:a16="http://schemas.microsoft.com/office/drawing/2014/main" id="{B1B3A975-6E6F-4B30-9595-2ED6AFD2B2D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9CAEC43-2503-42C4-A6A6-6308C18E1221}"/>
              </a:ext>
            </a:extLst>
          </p:cNvPr>
          <p:cNvSpPr>
            <a:spLocks noGrp="1"/>
          </p:cNvSpPr>
          <p:nvPr>
            <p:ph type="sldNum" sz="quarter" idx="12"/>
          </p:nvPr>
        </p:nvSpPr>
        <p:spPr/>
        <p:txBody>
          <a:bodyPr/>
          <a:lstStyle/>
          <a:p>
            <a:fld id="{AC746E64-7E2E-4904-9B11-ADCDD3191AF1}" type="slidenum">
              <a:rPr lang="en-US" smtClean="0"/>
              <a:t>‹#›</a:t>
            </a:fld>
            <a:endParaRPr lang="en-US"/>
          </a:p>
        </p:txBody>
      </p:sp>
    </p:spTree>
    <p:extLst>
      <p:ext uri="{BB962C8B-B14F-4D97-AF65-F5344CB8AC3E}">
        <p14:creationId xmlns:p14="http://schemas.microsoft.com/office/powerpoint/2010/main" val="26038344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image" Target="../media/image1.emf"/><Relationship Id="rId2" Type="http://schemas.openxmlformats.org/officeDocument/2006/relationships/slideLayout" Target="../slideLayouts/slideLayout24.xml"/><Relationship Id="rId16" Type="http://schemas.openxmlformats.org/officeDocument/2006/relationships/oleObject" Target="../embeddings/oleObject1.bin"/><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ags" Target="../tags/tag1.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4.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8498E7D-F784-4798-B3FE-2ED848D8198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B5CCF8A-40F2-4463-9604-85D54714BBF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7BC3A5-23C8-4251-AD70-15FA89F39B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031F1E8-EF51-4A63-AA95-54B1BF6B3EE4}" type="datetimeFigureOut">
              <a:rPr lang="en-US" smtClean="0"/>
              <a:t>7/6/2023</a:t>
            </a:fld>
            <a:endParaRPr lang="en-US"/>
          </a:p>
        </p:txBody>
      </p:sp>
      <p:sp>
        <p:nvSpPr>
          <p:cNvPr id="5" name="Footer Placeholder 4">
            <a:extLst>
              <a:ext uri="{FF2B5EF4-FFF2-40B4-BE49-F238E27FC236}">
                <a16:creationId xmlns:a16="http://schemas.microsoft.com/office/drawing/2014/main" id="{65D89AB0-F8F0-456E-ACFA-B471D24CE0A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72FA7BC-6541-4E40-B4B9-3A6BC854E61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C746E64-7E2E-4904-9B11-ADCDD3191AF1}" type="slidenum">
              <a:rPr lang="en-US" smtClean="0"/>
              <a:t>‹#›</a:t>
            </a:fld>
            <a:endParaRPr lang="en-US"/>
          </a:p>
        </p:txBody>
      </p:sp>
    </p:spTree>
    <p:extLst>
      <p:ext uri="{BB962C8B-B14F-4D97-AF65-F5344CB8AC3E}">
        <p14:creationId xmlns:p14="http://schemas.microsoft.com/office/powerpoint/2010/main" val="3294415521"/>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a:t>Click To Edit Master Title</a:t>
            </a:r>
          </a:p>
        </p:txBody>
      </p:sp>
      <p:sp>
        <p:nvSpPr>
          <p:cNvPr id="6" name="Rectangle 2">
            <a:extLst>
              <a:ext uri="{FF2B5EF4-FFF2-40B4-BE49-F238E27FC236}">
                <a16:creationId xmlns:a16="http://schemas.microsoft.com/office/drawing/2014/main" id="{6D16453F-ED48-AB4A-BCB9-8D834CDA967D}"/>
              </a:ext>
            </a:extLst>
          </p:cNvPr>
          <p:cNvSpPr>
            <a:spLocks/>
          </p:cNvSpPr>
          <p:nvPr userDrawn="1"/>
        </p:nvSpPr>
        <p:spPr bwMode="auto">
          <a:xfrm>
            <a:off x="11525580" y="6599595"/>
            <a:ext cx="153888"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pPr algn="r"/>
            <a:fld id="{C84F2FB2-4A16-1542-BD5E-F56870239E74}" type="slidenum">
              <a:rPr lang="en-US" sz="800" smtClean="0">
                <a:solidFill>
                  <a:schemeClr val="bg2">
                    <a:lumMod val="75000"/>
                  </a:schemeClr>
                </a:solidFill>
                <a:latin typeface="Open Sans" charset="0"/>
                <a:ea typeface="Open Sans" charset="0"/>
                <a:cs typeface="Open Sans" charset="0"/>
                <a:sym typeface="Frutiger Next Pro Light" charset="0"/>
              </a:rPr>
              <a:pPr algn="r"/>
              <a:t>‹#›</a:t>
            </a:fld>
            <a:r>
              <a:rPr lang="en-US" sz="800">
                <a:solidFill>
                  <a:schemeClr val="bg2">
                    <a:lumMod val="75000"/>
                  </a:schemeClr>
                </a:solidFill>
                <a:latin typeface="Open Sans" charset="0"/>
                <a:ea typeface="Open Sans" charset="0"/>
                <a:cs typeface="Open Sans" charset="0"/>
                <a:sym typeface="Frutiger Next Pro Light" charset="0"/>
              </a:rPr>
              <a:t> </a:t>
            </a:r>
          </a:p>
        </p:txBody>
      </p:sp>
    </p:spTree>
    <p:extLst>
      <p:ext uri="{BB962C8B-B14F-4D97-AF65-F5344CB8AC3E}">
        <p14:creationId xmlns:p14="http://schemas.microsoft.com/office/powerpoint/2010/main" val="90614691"/>
      </p:ext>
    </p:extLst>
  </p:cSld>
  <p:clrMap bg1="lt1" tx1="dk1" bg2="lt2" tx2="dk2" accent1="accent1" accent2="accent2" accent3="accent3" accent4="accent4" accent5="accent5" accent6="accent6" hlink="hlink" folHlink="folHlink"/>
  <p:sldLayoutIdLst>
    <p:sldLayoutId id="2147483664" r:id="rId1"/>
    <p:sldLayoutId id="2147483750"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Lst>
  <p:hf hdr="0" ftr="0" dt="0"/>
  <p:txStyles>
    <p:titleStyle>
      <a:lvl1pPr algn="l" defTabSz="914400" rtl="0" eaLnBrk="1" latinLnBrk="0" hangingPunct="1">
        <a:lnSpc>
          <a:spcPct val="80000"/>
        </a:lnSpc>
        <a:spcBef>
          <a:spcPct val="0"/>
        </a:spcBef>
        <a:buNone/>
        <a:defRPr sz="4800" b="0" i="0" kern="1200" cap="none" spc="-100" baseline="0">
          <a:solidFill>
            <a:schemeClr val="tx1"/>
          </a:solidFill>
          <a:latin typeface="+mn-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tx1"/>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tx1"/>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tx1"/>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tx1"/>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tx1"/>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userDrawn="1">
          <p15:clr>
            <a:srgbClr val="86BC25"/>
          </p15:clr>
        </p15:guide>
        <p15:guide id="2" orient="horz" pos="4032" userDrawn="1">
          <p15:clr>
            <a:srgbClr val="86BC25"/>
          </p15:clr>
        </p15:guide>
        <p15:guide id="3" orient="horz" pos="518" userDrawn="1">
          <p15:clr>
            <a:srgbClr val="86BC25"/>
          </p15:clr>
        </p15:guide>
        <p15:guide id="4" orient="horz" pos="748" userDrawn="1">
          <p15:clr>
            <a:srgbClr val="86BC25"/>
          </p15:clr>
        </p15:guide>
        <p15:guide id="5" orient="horz" pos="1152" userDrawn="1">
          <p15:clr>
            <a:srgbClr val="046A38"/>
          </p15:clr>
        </p15:guide>
        <p15:guide id="6" orient="horz" pos="2592" userDrawn="1">
          <p15:clr>
            <a:srgbClr val="62B5E5"/>
          </p15:clr>
        </p15:guide>
        <p15:guide id="7" orient="horz" pos="2112" userDrawn="1">
          <p15:clr>
            <a:srgbClr val="012169"/>
          </p15:clr>
        </p15:guide>
        <p15:guide id="8" orient="horz" pos="3072" userDrawn="1">
          <p15:clr>
            <a:srgbClr val="012169"/>
          </p15:clr>
        </p15:guide>
        <p15:guide id="9" pos="288" userDrawn="1">
          <p15:clr>
            <a:srgbClr val="86BC25"/>
          </p15:clr>
        </p15:guide>
        <p15:guide id="10" pos="6048" userDrawn="1">
          <p15:clr>
            <a:srgbClr val="86BC25"/>
          </p15:clr>
        </p15:guide>
        <p15:guide id="11" pos="3024" userDrawn="1">
          <p15:clr>
            <a:srgbClr val="62B5E5"/>
          </p15:clr>
        </p15:guide>
        <p15:guide id="12" pos="3312" userDrawn="1">
          <p15:clr>
            <a:srgbClr val="62B5E5"/>
          </p15:clr>
        </p15:guide>
        <p15:guide id="13" pos="2016" userDrawn="1">
          <p15:clr>
            <a:srgbClr val="012169"/>
          </p15:clr>
        </p15:guide>
        <p15:guide id="14" pos="2448" userDrawn="1">
          <p15:clr>
            <a:srgbClr val="012169"/>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4" name="Object 3" hidden="1"/>
                      <p:cNvPicPr/>
                      <p:nvPr/>
                    </p:nvPicPr>
                    <p:blipFill>
                      <a:blip r:embed="rId1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836210119"/>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8" r:id="rId3"/>
    <p:sldLayoutId id="2147483839" r:id="rId4"/>
    <p:sldLayoutId id="2147483840" r:id="rId5"/>
    <p:sldLayoutId id="2147483844" r:id="rId6"/>
    <p:sldLayoutId id="2147483845" r:id="rId7"/>
    <p:sldLayoutId id="2147483847" r:id="rId8"/>
    <p:sldLayoutId id="2147483848" r:id="rId9"/>
    <p:sldLayoutId id="2147483849" r:id="rId10"/>
    <p:sldLayoutId id="2147483851" r:id="rId11"/>
    <p:sldLayoutId id="2147483852" r:id="rId12"/>
    <p:sldLayoutId id="2147483866" r:id="rId1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2960602-F04C-47D8-83FF-9A9C85FB8E0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9C1CEAC-A691-4820-A4FA-DBF68900BC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827DCC-44A9-418F-82E3-CA1CFF13EB5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08013E-FEA1-4445-9DE7-44F3C33C0BF0}" type="datetimeFigureOut">
              <a:rPr lang="en-US" smtClean="0"/>
              <a:t>7/6/2023</a:t>
            </a:fld>
            <a:endParaRPr lang="en-US"/>
          </a:p>
        </p:txBody>
      </p:sp>
      <p:sp>
        <p:nvSpPr>
          <p:cNvPr id="5" name="Footer Placeholder 4">
            <a:extLst>
              <a:ext uri="{FF2B5EF4-FFF2-40B4-BE49-F238E27FC236}">
                <a16:creationId xmlns:a16="http://schemas.microsoft.com/office/drawing/2014/main" id="{5DE97F4B-AE16-463D-97F3-06D2B465FDD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3A9D526-AE8A-4628-8091-4A5A01F7023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6721817-0F81-40DA-AA0E-83888861526E}" type="slidenum">
              <a:rPr lang="en-US" smtClean="0"/>
              <a:t>‹#›</a:t>
            </a:fld>
            <a:endParaRPr lang="en-US"/>
          </a:p>
        </p:txBody>
      </p:sp>
    </p:spTree>
    <p:extLst>
      <p:ext uri="{BB962C8B-B14F-4D97-AF65-F5344CB8AC3E}">
        <p14:creationId xmlns:p14="http://schemas.microsoft.com/office/powerpoint/2010/main" val="191836557"/>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 id="214748388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2960602-F04C-47D8-83FF-9A9C85FB8E0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9C1CEAC-A691-4820-A4FA-DBF68900BC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827DCC-44A9-418F-82E3-CA1CFF13EB5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08013E-FEA1-4445-9DE7-44F3C33C0BF0}" type="datetimeFigureOut">
              <a:rPr lang="en-US" smtClean="0"/>
              <a:t>7/6/2023</a:t>
            </a:fld>
            <a:endParaRPr lang="en-US"/>
          </a:p>
        </p:txBody>
      </p:sp>
      <p:sp>
        <p:nvSpPr>
          <p:cNvPr id="5" name="Footer Placeholder 4">
            <a:extLst>
              <a:ext uri="{FF2B5EF4-FFF2-40B4-BE49-F238E27FC236}">
                <a16:creationId xmlns:a16="http://schemas.microsoft.com/office/drawing/2014/main" id="{5DE97F4B-AE16-463D-97F3-06D2B465FDD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3A9D526-AE8A-4628-8091-4A5A01F7023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6721817-0F81-40DA-AA0E-83888861526E}" type="slidenum">
              <a:rPr lang="en-US" smtClean="0"/>
              <a:t>‹#›</a:t>
            </a:fld>
            <a:endParaRPr lang="en-US"/>
          </a:p>
        </p:txBody>
      </p:sp>
    </p:spTree>
    <p:extLst>
      <p:ext uri="{BB962C8B-B14F-4D97-AF65-F5344CB8AC3E}">
        <p14:creationId xmlns:p14="http://schemas.microsoft.com/office/powerpoint/2010/main" val="2175434633"/>
      </p:ext>
    </p:extLst>
  </p:cSld>
  <p:clrMap bg1="lt1" tx1="dk1" bg2="lt2" tx2="dk2" accent1="accent1" accent2="accent2" accent3="accent3" accent4="accent4" accent5="accent5" accent6="accent6" hlink="hlink" folHlink="folHlink"/>
  <p:sldLayoutIdLst>
    <p:sldLayoutId id="2147483676"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88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47.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54.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s/_rels/slide1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2.xml"/><Relationship Id="rId1" Type="http://schemas.openxmlformats.org/officeDocument/2006/relationships/slideLayout" Target="../slideLayouts/slideLayout42.xml"/><Relationship Id="rId4" Type="http://schemas.openxmlformats.org/officeDocument/2006/relationships/image" Target="../media/image10.jpeg"/></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xml"/><Relationship Id="rId1" Type="http://schemas.openxmlformats.org/officeDocument/2006/relationships/slideLayout" Target="../slideLayouts/slideLayout6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0.xml"/></Relationships>
</file>

<file path=ppt/slides/_rels/slide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5.xml"/><Relationship Id="rId1" Type="http://schemas.openxmlformats.org/officeDocument/2006/relationships/slideLayout" Target="../slideLayouts/slideLayout42.xml"/><Relationship Id="rId4" Type="http://schemas.openxmlformats.org/officeDocument/2006/relationships/image" Target="../media/image10.jpe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42.xml"/><Relationship Id="rId6" Type="http://schemas.openxmlformats.org/officeDocument/2006/relationships/hyperlink" Target="http://www.ct.gov/step" TargetMode="External"/><Relationship Id="rId5" Type="http://schemas.openxmlformats.org/officeDocument/2006/relationships/hyperlink" Target="https://ctgovexec.sharepoint.com/sites/insidedds" TargetMode="External"/><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7.xml"/><Relationship Id="rId1" Type="http://schemas.openxmlformats.org/officeDocument/2006/relationships/slideLayout" Target="../slideLayouts/slideLayout42.xml"/><Relationship Id="rId4" Type="http://schemas.openxmlformats.org/officeDocument/2006/relationships/image" Target="../media/image10.jpeg"/></Relationships>
</file>

<file path=ppt/slides/_rels/slide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42.xml"/><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42.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42.xml"/><Relationship Id="rId4" Type="http://schemas.openxmlformats.org/officeDocument/2006/relationships/image" Target="../media/image10.jpeg"/></Relationships>
</file>

<file path=ppt/slides/_rels/slide8.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svg"/><Relationship Id="rId2" Type="http://schemas.openxmlformats.org/officeDocument/2006/relationships/notesSlide" Target="../notesSlides/notesSlide8.xml"/><Relationship Id="rId1" Type="http://schemas.openxmlformats.org/officeDocument/2006/relationships/slideLayout" Target="../slideLayouts/slideLayout42.xml"/><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 Id="rId14" Type="http://schemas.openxmlformats.org/officeDocument/2006/relationships/image" Target="../media/image30.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E1696B2-047F-4C78-AA9A-C683A92F0DAB}"/>
              </a:ext>
            </a:extLst>
          </p:cNvPr>
          <p:cNvGrpSpPr/>
          <p:nvPr/>
        </p:nvGrpSpPr>
        <p:grpSpPr>
          <a:xfrm>
            <a:off x="443869" y="4942825"/>
            <a:ext cx="11496240" cy="1654329"/>
            <a:chOff x="443869" y="4942825"/>
            <a:chExt cx="11496240" cy="1654329"/>
          </a:xfrm>
        </p:grpSpPr>
        <p:sp>
          <p:nvSpPr>
            <p:cNvPr id="61" name="Title 7">
              <a:extLst>
                <a:ext uri="{FF2B5EF4-FFF2-40B4-BE49-F238E27FC236}">
                  <a16:creationId xmlns:a16="http://schemas.microsoft.com/office/drawing/2014/main" id="{9D1309EA-4F4E-48CB-9D70-7B2C42223688}"/>
                </a:ext>
              </a:extLst>
            </p:cNvPr>
            <p:cNvSpPr txBox="1">
              <a:spLocks/>
            </p:cNvSpPr>
            <p:nvPr/>
          </p:nvSpPr>
          <p:spPr>
            <a:xfrm>
              <a:off x="462067" y="4942825"/>
              <a:ext cx="11478042" cy="377204"/>
            </a:xfrm>
            <a:prstGeom prst="rect">
              <a:avLst/>
            </a:prstGeom>
          </p:spPr>
          <p:txBody>
            <a:bodyPr vert="horz" lIns="0" tIns="45720" rIns="91440" bIns="0" rtlCol="0" anchor="t" anchorCtr="0">
              <a:noAutofit/>
            </a:bodyPr>
            <a:lstStyle>
              <a:lvl1pPr algn="l" defTabSz="914400" rtl="0" eaLnBrk="1" latinLnBrk="0" hangingPunct="1">
                <a:lnSpc>
                  <a:spcPct val="85000"/>
                </a:lnSpc>
                <a:spcBef>
                  <a:spcPct val="0"/>
                </a:spcBef>
                <a:buNone/>
                <a:defRPr sz="2800" b="1" i="0" kern="1200" cap="none" spc="-100" baseline="0">
                  <a:solidFill>
                    <a:schemeClr val="tx1"/>
                  </a:solidFill>
                  <a:latin typeface="+mn-lt"/>
                  <a:ea typeface="Bebas Neue" charset="0"/>
                  <a:cs typeface="Chronicle Display Black"/>
                </a:defRPr>
              </a:lvl1pPr>
            </a:lstStyle>
            <a:p>
              <a:pPr>
                <a:lnSpc>
                  <a:spcPct val="70000"/>
                </a:lnSpc>
                <a:defRPr/>
              </a:pPr>
              <a:r>
                <a:rPr kumimoji="0" lang="en-US" sz="3200" i="0" u="none" strike="noStrike" kern="1200" cap="none" spc="-100" normalizeH="0" baseline="0" noProof="0">
                  <a:ln>
                    <a:noFill/>
                  </a:ln>
                  <a:solidFill>
                    <a:srgbClr val="000000"/>
                  </a:solidFill>
                  <a:effectLst/>
                  <a:uLnTx/>
                  <a:uFillTx/>
                  <a:latin typeface="Calibri"/>
                  <a:ea typeface="Open Sans"/>
                  <a:cs typeface="Open Sans"/>
                </a:rPr>
                <a:t>DDS STEP </a:t>
              </a:r>
              <a:r>
                <a:rPr kumimoji="0" lang="en-US" sz="3200" i="0" u="none" strike="noStrike" kern="1200" cap="none" spc="0" normalizeH="0" baseline="0" noProof="0">
                  <a:ln>
                    <a:noFill/>
                  </a:ln>
                  <a:solidFill>
                    <a:srgbClr val="000000"/>
                  </a:solidFill>
                  <a:effectLst/>
                  <a:uLnTx/>
                  <a:uFillTx/>
                  <a:latin typeface="Calibri"/>
                  <a:ea typeface="+mn-ea"/>
                  <a:cs typeface="Calibri"/>
                </a:rPr>
                <a:t>(Supporting Transformation to Empower People)</a:t>
              </a:r>
              <a:r>
                <a:rPr lang="en-US" sz="3200">
                  <a:solidFill>
                    <a:srgbClr val="000000"/>
                  </a:solidFill>
                  <a:latin typeface="+mj-lt"/>
                  <a:ea typeface="Open Sans"/>
                  <a:cs typeface="Open Sans"/>
                </a:rPr>
                <a:t> </a:t>
              </a:r>
              <a:endParaRPr lang="en-US" sz="3200">
                <a:solidFill>
                  <a:srgbClr val="000000"/>
                </a:solidFill>
                <a:latin typeface="+mj-lt"/>
                <a:ea typeface="Open Sans" panose="020B0606030504020204" pitchFamily="34" charset="0"/>
                <a:cs typeface="Open Sans" panose="020B0606030504020204" pitchFamily="34" charset="0"/>
              </a:endParaRPr>
            </a:p>
            <a:p>
              <a:pPr>
                <a:lnSpc>
                  <a:spcPct val="70000"/>
                </a:lnSpc>
                <a:defRPr/>
              </a:pPr>
              <a:r>
                <a:rPr lang="en-US" sz="3200" b="0">
                  <a:solidFill>
                    <a:srgbClr val="000000"/>
                  </a:solidFill>
                  <a:latin typeface="Calibri"/>
                  <a:ea typeface="Open Sans"/>
                  <a:cs typeface="Open Sans"/>
                </a:rPr>
                <a:t>DDS Staff – Reviewer Training</a:t>
              </a:r>
              <a:endParaRPr lang="en-US" sz="3200" b="0" i="0" u="none" strike="noStrike" kern="1200" cap="none" spc="-100" normalizeH="0" baseline="0" noProof="0">
                <a:ln>
                  <a:noFill/>
                </a:ln>
                <a:solidFill>
                  <a:srgbClr val="000000"/>
                </a:solidFill>
                <a:effectLst/>
                <a:uLnTx/>
                <a:uFillTx/>
                <a:latin typeface="Calibri"/>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70000"/>
                </a:lnSpc>
                <a:spcBef>
                  <a:spcPct val="0"/>
                </a:spcBef>
                <a:spcAft>
                  <a:spcPts val="0"/>
                </a:spcAft>
                <a:buClrTx/>
                <a:buSzTx/>
                <a:buFontTx/>
                <a:buNone/>
                <a:tabLst/>
                <a:defRPr/>
              </a:pPr>
              <a:endParaRPr kumimoji="0" lang="en-US" sz="2400" i="0" u="none" strike="noStrike" kern="1200" cap="none" spc="-100" normalizeH="0" baseline="0" noProof="0">
                <a:ln>
                  <a:noFill/>
                </a:ln>
                <a:solidFill>
                  <a:srgbClr val="000000"/>
                </a:solidFill>
                <a:effectLst/>
                <a:uLnTx/>
                <a:uFillTx/>
                <a:latin typeface="+mj-lt"/>
                <a:ea typeface="Verdana" panose="020B0604030504040204" pitchFamily="34" charset="0"/>
                <a:cs typeface="Open Sans Light" panose="020B0306030504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400" i="0" u="none" strike="noStrike" kern="1200" cap="none" spc="-100" normalizeH="0" baseline="0" noProof="0">
                <a:ln>
                  <a:noFill/>
                </a:ln>
                <a:solidFill>
                  <a:srgbClr val="14377D"/>
                </a:solidFill>
                <a:effectLst/>
                <a:uLnTx/>
                <a:uFillTx/>
                <a:latin typeface="+mj-lt"/>
                <a:ea typeface="Verdana" panose="020B0604030504040204" pitchFamily="34" charset="0"/>
                <a:cs typeface="Open Sans Light" panose="020B0306030504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400" i="0" u="none" strike="noStrike" kern="1200" cap="none" spc="-100" normalizeH="0" baseline="0" noProof="0">
                <a:ln>
                  <a:noFill/>
                </a:ln>
                <a:solidFill>
                  <a:srgbClr val="14377D"/>
                </a:solidFill>
                <a:effectLst/>
                <a:uLnTx/>
                <a:uFillTx/>
                <a:latin typeface="+mj-lt"/>
                <a:ea typeface="Verdana" panose="020B0604030504040204" pitchFamily="34" charset="0"/>
                <a:cs typeface="Open Sans Light" panose="020B0306030504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400" i="0" u="none" strike="noStrike" kern="1200" cap="none" spc="-100" normalizeH="0" baseline="0" noProof="0">
                <a:ln>
                  <a:noFill/>
                </a:ln>
                <a:solidFill>
                  <a:srgbClr val="14377D"/>
                </a:solidFill>
                <a:effectLst/>
                <a:uLnTx/>
                <a:uFillTx/>
                <a:latin typeface="+mj-lt"/>
                <a:ea typeface="Verdana" panose="020B0604030504040204" pitchFamily="34" charset="0"/>
                <a:cs typeface="Open Sans Light" panose="020B0306030504020204" pitchFamily="34" charset="0"/>
              </a:endParaRPr>
            </a:p>
            <a:p>
              <a:pPr marL="0" marR="0" lvl="0" indent="0" algn="l" defTabSz="914400" rtl="0" eaLnBrk="1" fontAlgn="auto" latinLnBrk="0" hangingPunct="1">
                <a:lnSpc>
                  <a:spcPct val="70000"/>
                </a:lnSpc>
                <a:spcBef>
                  <a:spcPct val="0"/>
                </a:spcBef>
                <a:spcAft>
                  <a:spcPts val="0"/>
                </a:spcAft>
                <a:buClrTx/>
                <a:buSzTx/>
                <a:buFontTx/>
                <a:buNone/>
                <a:tabLst/>
                <a:defRPr/>
              </a:pPr>
              <a:endParaRPr kumimoji="0" lang="en-US" sz="1600" i="0" u="none" strike="noStrike" kern="1200" cap="none" spc="-100" normalizeH="0" baseline="0" noProof="0">
                <a:ln>
                  <a:noFill/>
                </a:ln>
                <a:solidFill>
                  <a:srgbClr val="14377D"/>
                </a:solidFill>
                <a:effectLst/>
                <a:uLnTx/>
                <a:uFillTx/>
                <a:latin typeface="+mj-lt"/>
                <a:ea typeface="Verdana" panose="020B0604030504040204" pitchFamily="34" charset="0"/>
              </a:endParaRPr>
            </a:p>
          </p:txBody>
        </p:sp>
        <p:sp>
          <p:nvSpPr>
            <p:cNvPr id="63" name="Text Placeholder 2">
              <a:extLst>
                <a:ext uri="{FF2B5EF4-FFF2-40B4-BE49-F238E27FC236}">
                  <a16:creationId xmlns:a16="http://schemas.microsoft.com/office/drawing/2014/main" id="{C67C2F40-C586-4E7E-994A-31A18E109BC0}"/>
                </a:ext>
              </a:extLst>
            </p:cNvPr>
            <p:cNvSpPr txBox="1">
              <a:spLocks/>
            </p:cNvSpPr>
            <p:nvPr/>
          </p:nvSpPr>
          <p:spPr>
            <a:xfrm>
              <a:off x="499696" y="6248868"/>
              <a:ext cx="9429906" cy="348286"/>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87878"/>
                </a:buClr>
                <a:defRPr/>
              </a:pPr>
              <a:r>
                <a:rPr lang="en-US" sz="1200">
                  <a:solidFill>
                    <a:srgbClr val="000000"/>
                  </a:solidFill>
                  <a:latin typeface="Verdana"/>
                  <a:ea typeface="Verdana"/>
                </a:rPr>
                <a:t>June 2023</a:t>
              </a:r>
              <a:endParaRPr kumimoji="0" lang="en-US" sz="1200" b="1" i="0" u="none" strike="noStrike" kern="0" cap="all" spc="250" normalizeH="0" baseline="0" noProof="0">
                <a:ln>
                  <a:noFill/>
                </a:ln>
                <a:solidFill>
                  <a:srgbClr val="000000">
                    <a:lumMod val="50000"/>
                    <a:lumOff val="50000"/>
                  </a:srgbClr>
                </a:solidFill>
                <a:effectLst/>
                <a:uLnTx/>
                <a:uFillTx/>
                <a:latin typeface="Verdana" panose="020B0604030504040204" pitchFamily="34" charset="0"/>
                <a:ea typeface="Verdana" panose="020B0604030504040204" pitchFamily="34" charset="0"/>
              </a:endParaRPr>
            </a:p>
          </p:txBody>
        </p:sp>
        <p:sp>
          <p:nvSpPr>
            <p:cNvPr id="64" name="Rectangle 63">
              <a:extLst>
                <a:ext uri="{FF2B5EF4-FFF2-40B4-BE49-F238E27FC236}">
                  <a16:creationId xmlns:a16="http://schemas.microsoft.com/office/drawing/2014/main" id="{B67C2DF1-85FB-4AD8-8AF7-C04F335B88CE}"/>
                </a:ext>
              </a:extLst>
            </p:cNvPr>
            <p:cNvSpPr/>
            <p:nvPr/>
          </p:nvSpPr>
          <p:spPr>
            <a:xfrm>
              <a:off x="443869" y="5798253"/>
              <a:ext cx="9541559" cy="400110"/>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necticut Department of Developmental Services </a:t>
              </a:r>
            </a:p>
          </p:txBody>
        </p:sp>
        <p:grpSp>
          <p:nvGrpSpPr>
            <p:cNvPr id="2" name="Group 1">
              <a:extLst>
                <a:ext uri="{FF2B5EF4-FFF2-40B4-BE49-F238E27FC236}">
                  <a16:creationId xmlns:a16="http://schemas.microsoft.com/office/drawing/2014/main" id="{D2FFE0F0-6221-4DDA-943E-C017910952F5}"/>
                </a:ext>
              </a:extLst>
            </p:cNvPr>
            <p:cNvGrpSpPr/>
            <p:nvPr/>
          </p:nvGrpSpPr>
          <p:grpSpPr>
            <a:xfrm>
              <a:off x="499077" y="5732971"/>
              <a:ext cx="11078504" cy="0"/>
              <a:chOff x="499077" y="5732971"/>
              <a:chExt cx="11078504" cy="0"/>
            </a:xfrm>
          </p:grpSpPr>
          <p:cxnSp>
            <p:nvCxnSpPr>
              <p:cNvPr id="65" name="Straight Connector 64">
                <a:extLst>
                  <a:ext uri="{FF2B5EF4-FFF2-40B4-BE49-F238E27FC236}">
                    <a16:creationId xmlns:a16="http://schemas.microsoft.com/office/drawing/2014/main" id="{FF5A87C3-8F15-401E-B485-AE2AD94522A0}"/>
                  </a:ext>
                </a:extLst>
              </p:cNvPr>
              <p:cNvCxnSpPr>
                <a:cxnSpLocks/>
              </p:cNvCxnSpPr>
              <p:nvPr/>
            </p:nvCxnSpPr>
            <p:spPr>
              <a:xfrm>
                <a:off x="499077" y="5732971"/>
                <a:ext cx="2011680" cy="0"/>
              </a:xfrm>
              <a:prstGeom prst="line">
                <a:avLst/>
              </a:prstGeom>
              <a:ln w="63500">
                <a:solidFill>
                  <a:srgbClr val="22326E"/>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339EEEAB-F859-4D9D-93CE-A27B3F5F32C9}"/>
                  </a:ext>
                </a:extLst>
              </p:cNvPr>
              <p:cNvCxnSpPr>
                <a:cxnSpLocks/>
              </p:cNvCxnSpPr>
              <p:nvPr/>
            </p:nvCxnSpPr>
            <p:spPr>
              <a:xfrm>
                <a:off x="2765783" y="5732971"/>
                <a:ext cx="2011680" cy="0"/>
              </a:xfrm>
              <a:prstGeom prst="line">
                <a:avLst/>
              </a:prstGeom>
              <a:ln w="63500">
                <a:solidFill>
                  <a:srgbClr val="009DEA"/>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13812E90-E888-4F51-9180-7EB7B2B73E1E}"/>
                  </a:ext>
                </a:extLst>
              </p:cNvPr>
              <p:cNvCxnSpPr>
                <a:cxnSpLocks/>
              </p:cNvCxnSpPr>
              <p:nvPr/>
            </p:nvCxnSpPr>
            <p:spPr>
              <a:xfrm>
                <a:off x="5032489" y="5732971"/>
                <a:ext cx="2011680" cy="0"/>
              </a:xfrm>
              <a:prstGeom prst="line">
                <a:avLst/>
              </a:prstGeom>
              <a:ln w="63500">
                <a:solidFill>
                  <a:srgbClr val="E03C3A"/>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B97B52B-A971-4231-8334-D916105D4B9F}"/>
                  </a:ext>
                </a:extLst>
              </p:cNvPr>
              <p:cNvCxnSpPr>
                <a:cxnSpLocks/>
              </p:cNvCxnSpPr>
              <p:nvPr/>
            </p:nvCxnSpPr>
            <p:spPr>
              <a:xfrm>
                <a:off x="7299195" y="5732971"/>
                <a:ext cx="2011680" cy="0"/>
              </a:xfrm>
              <a:prstGeom prst="line">
                <a:avLst/>
              </a:prstGeom>
              <a:ln w="63500">
                <a:solidFill>
                  <a:srgbClr val="ED8C0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AADA3BF-90EE-4300-A5CD-6F017E3D5A44}"/>
                  </a:ext>
                </a:extLst>
              </p:cNvPr>
              <p:cNvCxnSpPr>
                <a:cxnSpLocks/>
              </p:cNvCxnSpPr>
              <p:nvPr/>
            </p:nvCxnSpPr>
            <p:spPr>
              <a:xfrm>
                <a:off x="9565901" y="5732971"/>
                <a:ext cx="2011680" cy="0"/>
              </a:xfrm>
              <a:prstGeom prst="line">
                <a:avLst/>
              </a:prstGeom>
              <a:ln w="63500">
                <a:solidFill>
                  <a:srgbClr val="22326E"/>
                </a:solidFill>
              </a:ln>
            </p:spPr>
            <p:style>
              <a:lnRef idx="1">
                <a:schemeClr val="accent1"/>
              </a:lnRef>
              <a:fillRef idx="0">
                <a:schemeClr val="accent1"/>
              </a:fillRef>
              <a:effectRef idx="0">
                <a:schemeClr val="accent1"/>
              </a:effectRef>
              <a:fontRef idx="minor">
                <a:schemeClr val="tx1"/>
              </a:fontRef>
            </p:style>
          </p:cxnSp>
        </p:grpSp>
      </p:grpSp>
      <p:pic>
        <p:nvPicPr>
          <p:cNvPr id="4" name="Picture 3">
            <a:extLst>
              <a:ext uri="{FF2B5EF4-FFF2-40B4-BE49-F238E27FC236}">
                <a16:creationId xmlns:a16="http://schemas.microsoft.com/office/drawing/2014/main" id="{6CD3FF4F-E796-F2B4-2287-E8EBA47078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95576" y="200175"/>
            <a:ext cx="764009" cy="1011099"/>
          </a:xfrm>
          <a:prstGeom prst="rect">
            <a:avLst/>
          </a:prstGeom>
        </p:spPr>
      </p:pic>
      <p:pic>
        <p:nvPicPr>
          <p:cNvPr id="6" name="Picture 2" descr="CT Department of Developmental Disabilities | LinkedIn">
            <a:extLst>
              <a:ext uri="{FF2B5EF4-FFF2-40B4-BE49-F238E27FC236}">
                <a16:creationId xmlns:a16="http://schemas.microsoft.com/office/drawing/2014/main" id="{DD7206BD-3E57-0089-23D4-029E6F7202B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6295" y="200175"/>
            <a:ext cx="764009" cy="24440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couple of men holding basketballs&#10;&#10;Description automatically generated with medium confidence">
            <a:extLst>
              <a:ext uri="{FF2B5EF4-FFF2-40B4-BE49-F238E27FC236}">
                <a16:creationId xmlns:a16="http://schemas.microsoft.com/office/drawing/2014/main" id="{87943B2E-0DF4-4CEE-F870-E7616A3EA074}"/>
              </a:ext>
            </a:extLst>
          </p:cNvPr>
          <p:cNvPicPr>
            <a:picLocks noChangeAspect="1"/>
          </p:cNvPicPr>
          <p:nvPr/>
        </p:nvPicPr>
        <p:blipFill rotWithShape="1">
          <a:blip r:embed="rId5">
            <a:extLst>
              <a:ext uri="{28A0092B-C50C-407E-A947-70E740481C1C}">
                <a14:useLocalDpi xmlns:a14="http://schemas.microsoft.com/office/drawing/2010/main" val="0"/>
              </a:ext>
            </a:extLst>
          </a:blip>
          <a:srcRect t="8292" r="9146" b="6749"/>
          <a:stretch/>
        </p:blipFill>
        <p:spPr>
          <a:xfrm>
            <a:off x="342098" y="1315641"/>
            <a:ext cx="3568993" cy="2255329"/>
          </a:xfrm>
          <a:prstGeom prst="rect">
            <a:avLst/>
          </a:prstGeom>
          <a:ln w="57150">
            <a:solidFill>
              <a:srgbClr val="22326E"/>
            </a:solidFill>
          </a:ln>
        </p:spPr>
      </p:pic>
      <p:pic>
        <p:nvPicPr>
          <p:cNvPr id="7" name="Picture 6" descr="A picture containing person, indoor, kitchen appliance&#10;&#10;Description automatically generated">
            <a:extLst>
              <a:ext uri="{FF2B5EF4-FFF2-40B4-BE49-F238E27FC236}">
                <a16:creationId xmlns:a16="http://schemas.microsoft.com/office/drawing/2014/main" id="{EBADFE66-22E2-D2B0-7600-EB5DADA5792E}"/>
              </a:ext>
            </a:extLst>
          </p:cNvPr>
          <p:cNvPicPr>
            <a:picLocks noChangeAspect="1"/>
          </p:cNvPicPr>
          <p:nvPr/>
        </p:nvPicPr>
        <p:blipFill rotWithShape="1">
          <a:blip r:embed="rId6">
            <a:extLst>
              <a:ext uri="{28A0092B-C50C-407E-A947-70E740481C1C}">
                <a14:useLocalDpi xmlns:a14="http://schemas.microsoft.com/office/drawing/2010/main" val="0"/>
              </a:ext>
            </a:extLst>
          </a:blip>
          <a:srcRect b="15429"/>
          <a:stretch/>
        </p:blipFill>
        <p:spPr>
          <a:xfrm>
            <a:off x="8271501" y="1384086"/>
            <a:ext cx="3568992" cy="2255330"/>
          </a:xfrm>
          <a:prstGeom prst="rect">
            <a:avLst/>
          </a:prstGeom>
          <a:ln w="57150">
            <a:solidFill>
              <a:srgbClr val="22326E"/>
            </a:solidFill>
          </a:ln>
        </p:spPr>
      </p:pic>
      <p:pic>
        <p:nvPicPr>
          <p:cNvPr id="8" name="Picture 7" descr="Two people sitting on a couch&#10;&#10;Description automatically generated with low confidence">
            <a:extLst>
              <a:ext uri="{FF2B5EF4-FFF2-40B4-BE49-F238E27FC236}">
                <a16:creationId xmlns:a16="http://schemas.microsoft.com/office/drawing/2014/main" id="{923E4426-C74F-403D-5386-1439A8426AE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31860" y="2069836"/>
            <a:ext cx="3928279" cy="2614776"/>
          </a:xfrm>
          <a:prstGeom prst="rect">
            <a:avLst/>
          </a:prstGeom>
          <a:ln w="57150">
            <a:solidFill>
              <a:srgbClr val="22326E"/>
            </a:solidFill>
          </a:ln>
        </p:spPr>
      </p:pic>
    </p:spTree>
    <p:extLst>
      <p:ext uri="{BB962C8B-B14F-4D97-AF65-F5344CB8AC3E}">
        <p14:creationId xmlns:p14="http://schemas.microsoft.com/office/powerpoint/2010/main" val="418754918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CCC9A3D-5DDA-C76B-70E3-79FA3234DC3F}"/>
              </a:ext>
            </a:extLst>
          </p:cNvPr>
          <p:cNvSpPr/>
          <p:nvPr/>
        </p:nvSpPr>
        <p:spPr>
          <a:xfrm>
            <a:off x="5049102" y="1697871"/>
            <a:ext cx="2093796" cy="646331"/>
          </a:xfrm>
          <a:prstGeom prst="rect">
            <a:avLst/>
          </a:prstGeom>
          <a:solidFill>
            <a:schemeClr val="accent1"/>
          </a:solidFill>
        </p:spPr>
        <p:txBody>
          <a:bodyPr wrap="square">
            <a:spAutoFit/>
          </a:bodyPr>
          <a:lstStyle/>
          <a:p>
            <a:pPr algn="ctr"/>
            <a:r>
              <a:rPr lang="en-US" b="0" i="0" u="none" strike="noStrike" baseline="0">
                <a:solidFill>
                  <a:schemeClr val="bg1"/>
                </a:solidFill>
              </a:rPr>
              <a:t>Resource Administrator</a:t>
            </a:r>
          </a:p>
        </p:txBody>
      </p:sp>
      <p:sp>
        <p:nvSpPr>
          <p:cNvPr id="12" name="Rectangle 11">
            <a:extLst>
              <a:ext uri="{FF2B5EF4-FFF2-40B4-BE49-F238E27FC236}">
                <a16:creationId xmlns:a16="http://schemas.microsoft.com/office/drawing/2014/main" id="{44533B7B-8398-6ADD-91EC-C5497BFE5E19}"/>
              </a:ext>
            </a:extLst>
          </p:cNvPr>
          <p:cNvSpPr/>
          <p:nvPr/>
        </p:nvSpPr>
        <p:spPr>
          <a:xfrm>
            <a:off x="5067745" y="2598479"/>
            <a:ext cx="2056510" cy="923330"/>
          </a:xfrm>
          <a:prstGeom prst="rect">
            <a:avLst/>
          </a:prstGeom>
          <a:solidFill>
            <a:schemeClr val="accent2">
              <a:alpha val="40000"/>
            </a:schemeClr>
          </a:solidFill>
        </p:spPr>
        <p:txBody>
          <a:bodyPr wrap="square" anchor="ctr">
            <a:spAutoFit/>
          </a:bodyPr>
          <a:lstStyle/>
          <a:p>
            <a:pPr algn="ctr"/>
            <a:r>
              <a:rPr lang="en-US" b="0" i="0" u="none" strike="noStrike" baseline="0">
                <a:solidFill>
                  <a:srgbClr val="000000"/>
                </a:solidFill>
              </a:rPr>
              <a:t>Resource management representatives</a:t>
            </a:r>
          </a:p>
        </p:txBody>
      </p:sp>
      <p:sp>
        <p:nvSpPr>
          <p:cNvPr id="13" name="Rectangle 12">
            <a:extLst>
              <a:ext uri="{FF2B5EF4-FFF2-40B4-BE49-F238E27FC236}">
                <a16:creationId xmlns:a16="http://schemas.microsoft.com/office/drawing/2014/main" id="{A65050E9-864E-6CED-076E-E927A7536370}"/>
              </a:ext>
            </a:extLst>
          </p:cNvPr>
          <p:cNvSpPr/>
          <p:nvPr/>
        </p:nvSpPr>
        <p:spPr>
          <a:xfrm>
            <a:off x="7274253" y="2598478"/>
            <a:ext cx="2093796" cy="923330"/>
          </a:xfrm>
          <a:prstGeom prst="rect">
            <a:avLst/>
          </a:prstGeom>
          <a:solidFill>
            <a:schemeClr val="accent2">
              <a:alpha val="40000"/>
            </a:schemeClr>
          </a:solidFill>
        </p:spPr>
        <p:txBody>
          <a:bodyPr wrap="square" anchor="ctr">
            <a:spAutoFit/>
          </a:bodyPr>
          <a:lstStyle/>
          <a:p>
            <a:pPr algn="ctr"/>
            <a:r>
              <a:rPr lang="en-US" i="0" u="none" strike="noStrike" baseline="0">
                <a:solidFill>
                  <a:srgbClr val="000000"/>
                </a:solidFill>
              </a:rPr>
              <a:t>Case management representatives</a:t>
            </a:r>
          </a:p>
          <a:p>
            <a:pPr algn="ctr"/>
            <a:endParaRPr lang="en-US" i="0" u="none" strike="noStrike" baseline="0">
              <a:solidFill>
                <a:srgbClr val="000000"/>
              </a:solidFill>
            </a:endParaRPr>
          </a:p>
        </p:txBody>
      </p:sp>
      <p:sp>
        <p:nvSpPr>
          <p:cNvPr id="14" name="Rectangle 13">
            <a:extLst>
              <a:ext uri="{FF2B5EF4-FFF2-40B4-BE49-F238E27FC236}">
                <a16:creationId xmlns:a16="http://schemas.microsoft.com/office/drawing/2014/main" id="{6F8FA088-7DE6-096A-1AE6-4475885890C1}"/>
              </a:ext>
            </a:extLst>
          </p:cNvPr>
          <p:cNvSpPr/>
          <p:nvPr/>
        </p:nvSpPr>
        <p:spPr>
          <a:xfrm>
            <a:off x="2861237" y="2598477"/>
            <a:ext cx="2056510" cy="923330"/>
          </a:xfrm>
          <a:prstGeom prst="rect">
            <a:avLst/>
          </a:prstGeom>
          <a:solidFill>
            <a:schemeClr val="accent2">
              <a:alpha val="40000"/>
            </a:schemeClr>
          </a:solidFill>
        </p:spPr>
        <p:txBody>
          <a:bodyPr wrap="square" anchor="ctr">
            <a:spAutoFit/>
          </a:bodyPr>
          <a:lstStyle/>
          <a:p>
            <a:pPr algn="ctr"/>
            <a:r>
              <a:rPr lang="en-US" b="0" i="0" u="none" strike="noStrike" baseline="0">
                <a:solidFill>
                  <a:srgbClr val="000000"/>
                </a:solidFill>
              </a:rPr>
              <a:t>Leadership representatives</a:t>
            </a:r>
          </a:p>
          <a:p>
            <a:pPr algn="ctr"/>
            <a:endParaRPr lang="en-US" b="0" i="0" u="none" strike="noStrike" baseline="0">
              <a:solidFill>
                <a:srgbClr val="000000"/>
              </a:solidFill>
            </a:endParaRPr>
          </a:p>
        </p:txBody>
      </p:sp>
      <p:sp>
        <p:nvSpPr>
          <p:cNvPr id="15" name="Rectangle 14">
            <a:extLst>
              <a:ext uri="{FF2B5EF4-FFF2-40B4-BE49-F238E27FC236}">
                <a16:creationId xmlns:a16="http://schemas.microsoft.com/office/drawing/2014/main" id="{1B11531D-CD47-29D7-A074-D1D26ED85058}"/>
              </a:ext>
            </a:extLst>
          </p:cNvPr>
          <p:cNvSpPr/>
          <p:nvPr/>
        </p:nvSpPr>
        <p:spPr>
          <a:xfrm>
            <a:off x="2861237" y="3776086"/>
            <a:ext cx="6506812" cy="2308324"/>
          </a:xfrm>
          <a:prstGeom prst="rect">
            <a:avLst/>
          </a:prstGeom>
          <a:ln w="28575">
            <a:solidFill>
              <a:schemeClr val="accent1"/>
            </a:solidFill>
          </a:ln>
        </p:spPr>
        <p:txBody>
          <a:bodyPr wrap="square">
            <a:spAutoFit/>
          </a:bodyPr>
          <a:lstStyle/>
          <a:p>
            <a:pPr marL="285750" indent="-285750">
              <a:buFont typeface="Arial" panose="020B0604020202020204" pitchFamily="34" charset="0"/>
              <a:buChar char="•"/>
            </a:pPr>
            <a:r>
              <a:rPr lang="en-US" b="0" i="0" u="none" strike="noStrike" baseline="0">
                <a:solidFill>
                  <a:srgbClr val="000000"/>
                </a:solidFill>
              </a:rPr>
              <a:t>Someone from each group will review the narrative</a:t>
            </a:r>
          </a:p>
          <a:p>
            <a:pPr marL="285750" indent="-285750">
              <a:buFont typeface="Arial" panose="020B0604020202020204" pitchFamily="34" charset="0"/>
              <a:buChar char="•"/>
            </a:pPr>
            <a:r>
              <a:rPr lang="en-US">
                <a:solidFill>
                  <a:srgbClr val="000000"/>
                </a:solidFill>
              </a:rPr>
              <a:t>If reviewers do not agree, it defaults to “Needs Revision”</a:t>
            </a:r>
          </a:p>
          <a:p>
            <a:pPr marL="285750" indent="-285750">
              <a:buFont typeface="Arial" panose="020B0604020202020204" pitchFamily="34" charset="0"/>
              <a:buChar char="•"/>
            </a:pPr>
            <a:r>
              <a:rPr lang="en-US">
                <a:solidFill>
                  <a:srgbClr val="000000"/>
                </a:solidFill>
              </a:rPr>
              <a:t>The Resource Administrator will select who reviews the Budget. It will be reviewed for accuracy and appropriateness given the narrative</a:t>
            </a:r>
          </a:p>
          <a:p>
            <a:pPr marL="285750" indent="-285750">
              <a:buFont typeface="Arial" panose="020B0604020202020204" pitchFamily="34" charset="0"/>
              <a:buChar char="•"/>
            </a:pPr>
            <a:r>
              <a:rPr lang="en-US" b="0" i="0" u="none" strike="noStrike" baseline="0">
                <a:solidFill>
                  <a:srgbClr val="000000"/>
                </a:solidFill>
              </a:rPr>
              <a:t>As needed, teams will mee</a:t>
            </a:r>
            <a:r>
              <a:rPr lang="en-US">
                <a:solidFill>
                  <a:srgbClr val="000000"/>
                </a:solidFill>
              </a:rPr>
              <a:t>t internally to discuss submitted plans</a:t>
            </a:r>
          </a:p>
          <a:p>
            <a:pPr marL="285750" indent="-285750">
              <a:buFont typeface="Arial" panose="020B0604020202020204" pitchFamily="34" charset="0"/>
              <a:buChar char="•"/>
            </a:pPr>
            <a:r>
              <a:rPr lang="en-US" b="0" i="0" u="none" strike="noStrike" baseline="0">
                <a:solidFill>
                  <a:srgbClr val="000000"/>
                </a:solidFill>
              </a:rPr>
              <a:t>Reviewers may ask case managers and resource managers who work with the provider for input as needed</a:t>
            </a:r>
          </a:p>
        </p:txBody>
      </p:sp>
      <p:sp>
        <p:nvSpPr>
          <p:cNvPr id="70" name="TextBox 69">
            <a:extLst>
              <a:ext uri="{FF2B5EF4-FFF2-40B4-BE49-F238E27FC236}">
                <a16:creationId xmlns:a16="http://schemas.microsoft.com/office/drawing/2014/main" id="{A542DB42-5803-FC16-FC43-6DCDD288950E}"/>
              </a:ext>
            </a:extLst>
          </p:cNvPr>
          <p:cNvSpPr txBox="1"/>
          <p:nvPr/>
        </p:nvSpPr>
        <p:spPr>
          <a:xfrm>
            <a:off x="501652" y="317503"/>
            <a:ext cx="8620271"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black"/>
                </a:solidFill>
                <a:effectLst/>
                <a:uLnTx/>
                <a:uFillTx/>
                <a:latin typeface="Calibri" panose="020F0502020204030204"/>
                <a:ea typeface="+mn-ea"/>
                <a:cs typeface="+mn-cs"/>
              </a:rPr>
              <a:t>Who is the Regional Review Team?</a:t>
            </a:r>
          </a:p>
        </p:txBody>
      </p:sp>
    </p:spTree>
    <p:extLst>
      <p:ext uri="{BB962C8B-B14F-4D97-AF65-F5344CB8AC3E}">
        <p14:creationId xmlns:p14="http://schemas.microsoft.com/office/powerpoint/2010/main" val="35978413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9DC2212-CF8A-604A-7ECA-305E90C39E85}"/>
              </a:ext>
            </a:extLst>
          </p:cNvPr>
          <p:cNvSpPr txBox="1"/>
          <p:nvPr/>
        </p:nvSpPr>
        <p:spPr>
          <a:xfrm>
            <a:off x="501652" y="317503"/>
            <a:ext cx="11032558"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a:t>How Does DDS Make Approval Decisions?</a:t>
            </a:r>
            <a:endParaRPr lang="en-US" sz="3200"/>
          </a:p>
        </p:txBody>
      </p:sp>
      <p:grpSp>
        <p:nvGrpSpPr>
          <p:cNvPr id="11" name="Group 10">
            <a:extLst>
              <a:ext uri="{FF2B5EF4-FFF2-40B4-BE49-F238E27FC236}">
                <a16:creationId xmlns:a16="http://schemas.microsoft.com/office/drawing/2014/main" id="{1DF087BB-34EF-8CB1-3CE1-D3FD99CE02A3}"/>
              </a:ext>
            </a:extLst>
          </p:cNvPr>
          <p:cNvGrpSpPr/>
          <p:nvPr/>
        </p:nvGrpSpPr>
        <p:grpSpPr>
          <a:xfrm>
            <a:off x="308163" y="3876527"/>
            <a:ext cx="11430001" cy="324092"/>
            <a:chOff x="426378" y="1158630"/>
            <a:chExt cx="11430001" cy="324092"/>
          </a:xfrm>
        </p:grpSpPr>
        <p:cxnSp>
          <p:nvCxnSpPr>
            <p:cNvPr id="8" name="Straight Connector 7">
              <a:extLst>
                <a:ext uri="{FF2B5EF4-FFF2-40B4-BE49-F238E27FC236}">
                  <a16:creationId xmlns:a16="http://schemas.microsoft.com/office/drawing/2014/main" id="{1EAB79C9-E300-A03E-D97B-36A496D12CD1}"/>
                </a:ext>
              </a:extLst>
            </p:cNvPr>
            <p:cNvCxnSpPr>
              <a:cxnSpLocks/>
            </p:cNvCxnSpPr>
            <p:nvPr/>
          </p:nvCxnSpPr>
          <p:spPr>
            <a:xfrm>
              <a:off x="440893" y="1482722"/>
              <a:ext cx="11415486"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9BCB912B-891B-7B64-ED0A-5D1D6A92ADFF}"/>
                </a:ext>
              </a:extLst>
            </p:cNvPr>
            <p:cNvSpPr/>
            <p:nvPr/>
          </p:nvSpPr>
          <p:spPr>
            <a:xfrm>
              <a:off x="426378" y="1158630"/>
              <a:ext cx="4108025" cy="324092"/>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ea typeface="+mn-ea"/>
                  <a:cs typeface="+mn-cs"/>
                </a:rPr>
                <a:t>Innovative Criteria for STEP Plans </a:t>
              </a:r>
            </a:p>
          </p:txBody>
        </p:sp>
      </p:grpSp>
      <p:sp>
        <p:nvSpPr>
          <p:cNvPr id="13" name="TextBox 12">
            <a:extLst>
              <a:ext uri="{FF2B5EF4-FFF2-40B4-BE49-F238E27FC236}">
                <a16:creationId xmlns:a16="http://schemas.microsoft.com/office/drawing/2014/main" id="{86369A52-9E2F-89BE-F8A0-2B7CBD8E222E}"/>
              </a:ext>
            </a:extLst>
          </p:cNvPr>
          <p:cNvSpPr txBox="1"/>
          <p:nvPr/>
        </p:nvSpPr>
        <p:spPr>
          <a:xfrm>
            <a:off x="426379" y="884781"/>
            <a:ext cx="11168582" cy="923330"/>
          </a:xfrm>
          <a:prstGeom prst="rect">
            <a:avLst/>
          </a:prstGeom>
          <a:noFill/>
        </p:spPr>
        <p:txBody>
          <a:bodyPr wrap="square">
            <a:spAutoFit/>
          </a:bodyPr>
          <a:lstStyle/>
          <a:p>
            <a:r>
              <a:rPr lang="en-US"/>
              <a:t>Transition Plan Templates each include review criteria for consistency in review across regions. In addition, DDS is prioritizing approval of plans that are truly </a:t>
            </a:r>
            <a:r>
              <a:rPr lang="en-US" b="1"/>
              <a:t>transformative and innovative</a:t>
            </a:r>
            <a:r>
              <a:rPr lang="en-US"/>
              <a:t>. A transformative plan is characterized by the type of transition </a:t>
            </a:r>
            <a:r>
              <a:rPr lang="en-US" i="1" u="sng"/>
              <a:t>and</a:t>
            </a:r>
            <a:r>
              <a:rPr lang="en-US"/>
              <a:t> meeting at least one of the four criteria listed below:</a:t>
            </a:r>
          </a:p>
        </p:txBody>
      </p:sp>
      <p:sp>
        <p:nvSpPr>
          <p:cNvPr id="14" name="Content Placeholder 2">
            <a:extLst>
              <a:ext uri="{FF2B5EF4-FFF2-40B4-BE49-F238E27FC236}">
                <a16:creationId xmlns:a16="http://schemas.microsoft.com/office/drawing/2014/main" id="{4B50387D-24FF-E404-EF7B-853805D06BC0}"/>
              </a:ext>
            </a:extLst>
          </p:cNvPr>
          <p:cNvSpPr txBox="1">
            <a:spLocks/>
          </p:cNvSpPr>
          <p:nvPr/>
        </p:nvSpPr>
        <p:spPr>
          <a:xfrm>
            <a:off x="1023109" y="2372876"/>
            <a:ext cx="2067540" cy="398486"/>
          </a:xfrm>
          <a:prstGeom prst="rect">
            <a:avLst/>
          </a:prstGeom>
        </p:spPr>
        <p:txBody>
          <a:bodyPr lIns="0" r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kumimoji="0" lang="en-US" sz="1800" b="1" i="0" u="none" strike="noStrike" kern="1200" cap="none" spc="-30" normalizeH="0" baseline="0" noProof="0">
                <a:ln>
                  <a:noFill/>
                </a:ln>
                <a:solidFill>
                  <a:prstClr val="black"/>
                </a:solidFill>
                <a:effectLst/>
                <a:uLnTx/>
                <a:uFillTx/>
                <a:ea typeface="Montserrat" charset="0"/>
                <a:cs typeface="Montserrat" charset="0"/>
              </a:rPr>
              <a:t>TYPE OF TRANSITION</a:t>
            </a:r>
          </a:p>
        </p:txBody>
      </p:sp>
      <p:sp>
        <p:nvSpPr>
          <p:cNvPr id="15" name="Content Placeholder 2">
            <a:extLst>
              <a:ext uri="{FF2B5EF4-FFF2-40B4-BE49-F238E27FC236}">
                <a16:creationId xmlns:a16="http://schemas.microsoft.com/office/drawing/2014/main" id="{36B88CF1-35F7-1AB9-A0C4-9460D625BCE7}"/>
              </a:ext>
            </a:extLst>
          </p:cNvPr>
          <p:cNvSpPr txBox="1">
            <a:spLocks/>
          </p:cNvSpPr>
          <p:nvPr/>
        </p:nvSpPr>
        <p:spPr>
          <a:xfrm>
            <a:off x="753912" y="4411753"/>
            <a:ext cx="2296507" cy="398486"/>
          </a:xfrm>
          <a:prstGeom prst="rect">
            <a:avLst/>
          </a:prstGeom>
        </p:spPr>
        <p:txBody>
          <a:bodyPr lIns="0" rIns="0"/>
          <a:lstStyle>
            <a:defPPr>
              <a:defRPr lang="en-US"/>
            </a:defPPr>
            <a:lvl1pPr indent="0">
              <a:lnSpc>
                <a:spcPct val="100000"/>
              </a:lnSpc>
              <a:spcBef>
                <a:spcPts val="1000"/>
              </a:spcBef>
              <a:buClr>
                <a:schemeClr val="accent5"/>
              </a:buClr>
              <a:buSzPct val="75000"/>
              <a:buFont typeface="Arial" panose="020B0604020202020204" pitchFamily="34" charset="0"/>
              <a:buNone/>
              <a:defRPr sz="2000" spc="-30">
                <a:solidFill>
                  <a:prstClr val="black"/>
                </a:solidFill>
                <a:latin typeface="+mj-lt"/>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kumimoji="0" lang="en-US" sz="1800" b="1" i="0" u="none" strike="noStrike" kern="1200" cap="none" spc="-30" normalizeH="0" baseline="0" noProof="0">
                <a:ln>
                  <a:noFill/>
                </a:ln>
                <a:solidFill>
                  <a:prstClr val="black"/>
                </a:solidFill>
                <a:effectLst/>
                <a:uLnTx/>
                <a:uFillTx/>
                <a:latin typeface="+mn-lt"/>
                <a:ea typeface="Montserrat" charset="0"/>
                <a:cs typeface="Montserrat" charset="0"/>
              </a:rPr>
              <a:t>APPENDIX </a:t>
            </a:r>
            <a:r>
              <a:rPr lang="en-US" sz="1800" b="1">
                <a:latin typeface="+mn-lt"/>
                <a:ea typeface="Montserrat" charset="0"/>
                <a:cs typeface="Montserrat" charset="0"/>
              </a:rPr>
              <a:t>K </a:t>
            </a:r>
            <a:r>
              <a:rPr kumimoji="0" lang="en-US" sz="1800" b="1" i="0" u="none" strike="noStrike" kern="1200" cap="none" spc="-30" normalizeH="0" baseline="0" noProof="0">
                <a:ln>
                  <a:noFill/>
                </a:ln>
                <a:solidFill>
                  <a:prstClr val="black"/>
                </a:solidFill>
                <a:effectLst/>
                <a:uLnTx/>
                <a:uFillTx/>
                <a:latin typeface="+mn-lt"/>
                <a:ea typeface="Montserrat" charset="0"/>
                <a:cs typeface="Montserrat" charset="0"/>
              </a:rPr>
              <a:t>OBJECTIVES</a:t>
            </a:r>
          </a:p>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endParaRPr kumimoji="0" lang="en-US" sz="1600" b="0" i="0" u="none" strike="noStrike" kern="1200" cap="none" spc="-30" normalizeH="0" baseline="0" noProof="0">
              <a:ln>
                <a:noFill/>
              </a:ln>
              <a:solidFill>
                <a:prstClr val="black"/>
              </a:solidFill>
              <a:effectLst/>
              <a:uLnTx/>
              <a:uFillTx/>
              <a:latin typeface="+mn-lt"/>
              <a:ea typeface="Montserrat Light" charset="0"/>
              <a:cs typeface="Montserrat Light" charset="0"/>
            </a:endParaRPr>
          </a:p>
        </p:txBody>
      </p:sp>
      <p:sp>
        <p:nvSpPr>
          <p:cNvPr id="16" name="Content Placeholder 2">
            <a:extLst>
              <a:ext uri="{FF2B5EF4-FFF2-40B4-BE49-F238E27FC236}">
                <a16:creationId xmlns:a16="http://schemas.microsoft.com/office/drawing/2014/main" id="{830DC4C1-601F-E436-D5C9-CFB723281197}"/>
              </a:ext>
            </a:extLst>
          </p:cNvPr>
          <p:cNvSpPr txBox="1">
            <a:spLocks/>
          </p:cNvSpPr>
          <p:nvPr/>
        </p:nvSpPr>
        <p:spPr>
          <a:xfrm>
            <a:off x="7225563" y="4434102"/>
            <a:ext cx="2067540" cy="398486"/>
          </a:xfrm>
          <a:prstGeom prst="rect">
            <a:avLst/>
          </a:prstGeom>
        </p:spPr>
        <p:txBody>
          <a:bodyPr lIns="0" rIns="0"/>
          <a:lstStyle>
            <a:defPPr>
              <a:defRPr lang="en-US"/>
            </a:defPPr>
            <a:lvl1pPr indent="0">
              <a:lnSpc>
                <a:spcPct val="100000"/>
              </a:lnSpc>
              <a:spcBef>
                <a:spcPts val="1000"/>
              </a:spcBef>
              <a:buClr>
                <a:schemeClr val="accent5"/>
              </a:buClr>
              <a:buSzPct val="75000"/>
              <a:buFont typeface="Arial" panose="020B0604020202020204" pitchFamily="34" charset="0"/>
              <a:buNone/>
              <a:defRPr sz="2000" spc="-30">
                <a:solidFill>
                  <a:prstClr val="black"/>
                </a:solidFill>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kumimoji="0" lang="en-US" sz="1800" b="1" i="0" u="none" strike="noStrike" kern="1200" cap="none" spc="-30" normalizeH="0" baseline="0" noProof="0">
                <a:ln>
                  <a:noFill/>
                </a:ln>
                <a:solidFill>
                  <a:prstClr val="black"/>
                </a:solidFill>
                <a:effectLst/>
                <a:uLnTx/>
                <a:uFillTx/>
                <a:ea typeface="Montserrat" charset="0"/>
                <a:cs typeface="Montserrat" charset="0"/>
              </a:rPr>
              <a:t>NEW APPROACH</a:t>
            </a:r>
          </a:p>
        </p:txBody>
      </p:sp>
      <p:sp>
        <p:nvSpPr>
          <p:cNvPr id="17" name="Content Placeholder 2">
            <a:extLst>
              <a:ext uri="{FF2B5EF4-FFF2-40B4-BE49-F238E27FC236}">
                <a16:creationId xmlns:a16="http://schemas.microsoft.com/office/drawing/2014/main" id="{8C862751-49CD-60A9-C1F0-0F6E41C64355}"/>
              </a:ext>
            </a:extLst>
          </p:cNvPr>
          <p:cNvSpPr txBox="1">
            <a:spLocks/>
          </p:cNvSpPr>
          <p:nvPr/>
        </p:nvSpPr>
        <p:spPr>
          <a:xfrm>
            <a:off x="4204949" y="4423278"/>
            <a:ext cx="2067540" cy="438423"/>
          </a:xfrm>
          <a:prstGeom prst="rect">
            <a:avLst/>
          </a:prstGeom>
        </p:spPr>
        <p:txBody>
          <a:bodyPr lIns="0" rIns="0"/>
          <a:lstStyle>
            <a:defPPr>
              <a:defRPr lang="en-US"/>
            </a:defPPr>
            <a:lvl1pPr indent="0">
              <a:lnSpc>
                <a:spcPct val="100000"/>
              </a:lnSpc>
              <a:spcBef>
                <a:spcPts val="1000"/>
              </a:spcBef>
              <a:buClr>
                <a:schemeClr val="accent5"/>
              </a:buClr>
              <a:buSzPct val="75000"/>
              <a:buFont typeface="Arial" panose="020B0604020202020204" pitchFamily="34" charset="0"/>
              <a:buNone/>
              <a:defRPr sz="2000" spc="-30">
                <a:solidFill>
                  <a:prstClr val="black"/>
                </a:solidFill>
                <a:latin typeface="+mj-lt"/>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kumimoji="0" lang="en-US" sz="1800" b="1" i="0" u="none" strike="noStrike" kern="1200" cap="none" spc="-30" normalizeH="0" baseline="0" noProof="0">
                <a:ln>
                  <a:noFill/>
                </a:ln>
                <a:solidFill>
                  <a:prstClr val="black"/>
                </a:solidFill>
                <a:effectLst/>
                <a:uLnTx/>
                <a:uFillTx/>
                <a:latin typeface="+mn-lt"/>
                <a:ea typeface="Montserrat" charset="0"/>
                <a:cs typeface="Montserrat" charset="0"/>
              </a:rPr>
              <a:t>SCALE OF IMPACT</a:t>
            </a:r>
            <a:endParaRPr kumimoji="0" lang="en-US" sz="1600" b="1" i="0" u="none" strike="noStrike" kern="1200" cap="none" spc="-30" normalizeH="0" baseline="0" noProof="0">
              <a:ln>
                <a:noFill/>
              </a:ln>
              <a:solidFill>
                <a:prstClr val="black"/>
              </a:solidFill>
              <a:effectLst/>
              <a:uLnTx/>
              <a:uFillTx/>
              <a:latin typeface="+mn-lt"/>
              <a:ea typeface="Montserrat" charset="0"/>
              <a:cs typeface="Montserrat" charset="0"/>
            </a:endParaRPr>
          </a:p>
          <a:p>
            <a:pPr marL="0" marR="0" lvl="0" indent="0" algn="l" defTabSz="913837" rtl="0" eaLnBrk="1" fontAlgn="auto" latinLnBrk="0" hangingPunct="1">
              <a:lnSpc>
                <a:spcPct val="130000"/>
              </a:lnSpc>
              <a:spcBef>
                <a:spcPts val="1000"/>
              </a:spcBef>
              <a:spcAft>
                <a:spcPts val="0"/>
              </a:spcAft>
              <a:buClr>
                <a:srgbClr val="787878"/>
              </a:buClr>
              <a:buSzPct val="75000"/>
              <a:buFont typeface="Arial" panose="020B0604020202020204" pitchFamily="34" charset="0"/>
              <a:buNone/>
              <a:tabLst/>
              <a:defRPr/>
            </a:pPr>
            <a:endParaRPr kumimoji="0" lang="en-US" sz="1600" b="0" i="0" u="none" strike="noStrike" kern="1200" cap="none" spc="-30" normalizeH="0" baseline="0" noProof="0">
              <a:ln>
                <a:noFill/>
              </a:ln>
              <a:solidFill>
                <a:prstClr val="black"/>
              </a:solidFill>
              <a:effectLst/>
              <a:uLnTx/>
              <a:uFillTx/>
              <a:latin typeface="+mn-lt"/>
              <a:ea typeface="Open Sans" charset="0"/>
              <a:cs typeface="Open Sans" charset="0"/>
            </a:endParaRPr>
          </a:p>
        </p:txBody>
      </p:sp>
      <p:grpSp>
        <p:nvGrpSpPr>
          <p:cNvPr id="18" name="Group 17">
            <a:extLst>
              <a:ext uri="{FF2B5EF4-FFF2-40B4-BE49-F238E27FC236}">
                <a16:creationId xmlns:a16="http://schemas.microsoft.com/office/drawing/2014/main" id="{57E7C6B9-662A-B826-267A-C5F42349E93E}"/>
              </a:ext>
            </a:extLst>
          </p:cNvPr>
          <p:cNvGrpSpPr/>
          <p:nvPr/>
        </p:nvGrpSpPr>
        <p:grpSpPr>
          <a:xfrm>
            <a:off x="322678" y="4391541"/>
            <a:ext cx="307974" cy="438911"/>
            <a:chOff x="9207500" y="2944813"/>
            <a:chExt cx="334962" cy="484188"/>
          </a:xfrm>
          <a:solidFill>
            <a:schemeClr val="accent4"/>
          </a:solidFill>
        </p:grpSpPr>
        <p:sp>
          <p:nvSpPr>
            <p:cNvPr id="19" name="Freeform 374">
              <a:extLst>
                <a:ext uri="{FF2B5EF4-FFF2-40B4-BE49-F238E27FC236}">
                  <a16:creationId xmlns:a16="http://schemas.microsoft.com/office/drawing/2014/main" id="{BC496743-8DE6-673F-7F26-6D6E1A957841}"/>
                </a:ext>
              </a:extLst>
            </p:cNvPr>
            <p:cNvSpPr>
              <a:spLocks/>
            </p:cNvSpPr>
            <p:nvPr/>
          </p:nvSpPr>
          <p:spPr bwMode="auto">
            <a:xfrm>
              <a:off x="9207500" y="3287713"/>
              <a:ext cx="334962" cy="141288"/>
            </a:xfrm>
            <a:custGeom>
              <a:avLst/>
              <a:gdLst>
                <a:gd name="T0" fmla="*/ 158 w 159"/>
                <a:gd name="T1" fmla="*/ 60 h 67"/>
                <a:gd name="T2" fmla="*/ 136 w 159"/>
                <a:gd name="T3" fmla="*/ 3 h 67"/>
                <a:gd name="T4" fmla="*/ 132 w 159"/>
                <a:gd name="T5" fmla="*/ 0 h 67"/>
                <a:gd name="T6" fmla="*/ 118 w 159"/>
                <a:gd name="T7" fmla="*/ 0 h 67"/>
                <a:gd name="T8" fmla="*/ 113 w 159"/>
                <a:gd name="T9" fmla="*/ 5 h 67"/>
                <a:gd name="T10" fmla="*/ 118 w 159"/>
                <a:gd name="T11" fmla="*/ 10 h 67"/>
                <a:gd name="T12" fmla="*/ 128 w 159"/>
                <a:gd name="T13" fmla="*/ 10 h 67"/>
                <a:gd name="T14" fmla="*/ 147 w 159"/>
                <a:gd name="T15" fmla="*/ 57 h 67"/>
                <a:gd name="T16" fmla="*/ 12 w 159"/>
                <a:gd name="T17" fmla="*/ 57 h 67"/>
                <a:gd name="T18" fmla="*/ 31 w 159"/>
                <a:gd name="T19" fmla="*/ 10 h 67"/>
                <a:gd name="T20" fmla="*/ 42 w 159"/>
                <a:gd name="T21" fmla="*/ 10 h 67"/>
                <a:gd name="T22" fmla="*/ 46 w 159"/>
                <a:gd name="T23" fmla="*/ 5 h 67"/>
                <a:gd name="T24" fmla="*/ 42 w 159"/>
                <a:gd name="T25" fmla="*/ 0 h 67"/>
                <a:gd name="T26" fmla="*/ 28 w 159"/>
                <a:gd name="T27" fmla="*/ 0 h 67"/>
                <a:gd name="T28" fmla="*/ 24 w 159"/>
                <a:gd name="T29" fmla="*/ 3 h 67"/>
                <a:gd name="T30" fmla="*/ 1 w 159"/>
                <a:gd name="T31" fmla="*/ 60 h 67"/>
                <a:gd name="T32" fmla="*/ 2 w 159"/>
                <a:gd name="T33" fmla="*/ 65 h 67"/>
                <a:gd name="T34" fmla="*/ 5 w 159"/>
                <a:gd name="T35" fmla="*/ 67 h 67"/>
                <a:gd name="T36" fmla="*/ 154 w 159"/>
                <a:gd name="T37" fmla="*/ 67 h 67"/>
                <a:gd name="T38" fmla="*/ 158 w 159"/>
                <a:gd name="T39" fmla="*/ 65 h 67"/>
                <a:gd name="T40" fmla="*/ 158 w 159"/>
                <a:gd name="T41"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9" h="67">
                  <a:moveTo>
                    <a:pt x="158" y="60"/>
                  </a:moveTo>
                  <a:cubicBezTo>
                    <a:pt x="136" y="3"/>
                    <a:pt x="136" y="3"/>
                    <a:pt x="136" y="3"/>
                  </a:cubicBezTo>
                  <a:cubicBezTo>
                    <a:pt x="135" y="2"/>
                    <a:pt x="133" y="0"/>
                    <a:pt x="132" y="0"/>
                  </a:cubicBezTo>
                  <a:cubicBezTo>
                    <a:pt x="118" y="0"/>
                    <a:pt x="118" y="0"/>
                    <a:pt x="118" y="0"/>
                  </a:cubicBezTo>
                  <a:cubicBezTo>
                    <a:pt x="115" y="0"/>
                    <a:pt x="113" y="3"/>
                    <a:pt x="113" y="5"/>
                  </a:cubicBezTo>
                  <a:cubicBezTo>
                    <a:pt x="113" y="8"/>
                    <a:pt x="115" y="10"/>
                    <a:pt x="118" y="10"/>
                  </a:cubicBezTo>
                  <a:cubicBezTo>
                    <a:pt x="128" y="10"/>
                    <a:pt x="128" y="10"/>
                    <a:pt x="128" y="10"/>
                  </a:cubicBezTo>
                  <a:cubicBezTo>
                    <a:pt x="147" y="57"/>
                    <a:pt x="147" y="57"/>
                    <a:pt x="147" y="57"/>
                  </a:cubicBezTo>
                  <a:cubicBezTo>
                    <a:pt x="12" y="57"/>
                    <a:pt x="12" y="57"/>
                    <a:pt x="12" y="57"/>
                  </a:cubicBezTo>
                  <a:cubicBezTo>
                    <a:pt x="31" y="10"/>
                    <a:pt x="31" y="10"/>
                    <a:pt x="31" y="10"/>
                  </a:cubicBezTo>
                  <a:cubicBezTo>
                    <a:pt x="42" y="10"/>
                    <a:pt x="42" y="10"/>
                    <a:pt x="42" y="10"/>
                  </a:cubicBezTo>
                  <a:cubicBezTo>
                    <a:pt x="44" y="10"/>
                    <a:pt x="46" y="8"/>
                    <a:pt x="46" y="5"/>
                  </a:cubicBezTo>
                  <a:cubicBezTo>
                    <a:pt x="46" y="3"/>
                    <a:pt x="44" y="0"/>
                    <a:pt x="42" y="0"/>
                  </a:cubicBezTo>
                  <a:cubicBezTo>
                    <a:pt x="28" y="0"/>
                    <a:pt x="28" y="0"/>
                    <a:pt x="28" y="0"/>
                  </a:cubicBezTo>
                  <a:cubicBezTo>
                    <a:pt x="26" y="0"/>
                    <a:pt x="24" y="2"/>
                    <a:pt x="24" y="3"/>
                  </a:cubicBezTo>
                  <a:cubicBezTo>
                    <a:pt x="1" y="60"/>
                    <a:pt x="1" y="60"/>
                    <a:pt x="1" y="60"/>
                  </a:cubicBezTo>
                  <a:cubicBezTo>
                    <a:pt x="0" y="62"/>
                    <a:pt x="1" y="63"/>
                    <a:pt x="2" y="65"/>
                  </a:cubicBezTo>
                  <a:cubicBezTo>
                    <a:pt x="2" y="66"/>
                    <a:pt x="4" y="67"/>
                    <a:pt x="5" y="67"/>
                  </a:cubicBezTo>
                  <a:cubicBezTo>
                    <a:pt x="154" y="67"/>
                    <a:pt x="154" y="67"/>
                    <a:pt x="154" y="67"/>
                  </a:cubicBezTo>
                  <a:cubicBezTo>
                    <a:pt x="156" y="67"/>
                    <a:pt x="157" y="66"/>
                    <a:pt x="158" y="65"/>
                  </a:cubicBezTo>
                  <a:cubicBezTo>
                    <a:pt x="159" y="63"/>
                    <a:pt x="159" y="62"/>
                    <a:pt x="158" y="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0" name="Freeform 375">
              <a:extLst>
                <a:ext uri="{FF2B5EF4-FFF2-40B4-BE49-F238E27FC236}">
                  <a16:creationId xmlns:a16="http://schemas.microsoft.com/office/drawing/2014/main" id="{810F21FE-B22F-C6B1-3E89-878B15ACD56D}"/>
                </a:ext>
              </a:extLst>
            </p:cNvPr>
            <p:cNvSpPr>
              <a:spLocks noEditPoints="1"/>
            </p:cNvSpPr>
            <p:nvPr/>
          </p:nvSpPr>
          <p:spPr bwMode="auto">
            <a:xfrm>
              <a:off x="9318625" y="3022600"/>
              <a:ext cx="114300" cy="114300"/>
            </a:xfrm>
            <a:custGeom>
              <a:avLst/>
              <a:gdLst>
                <a:gd name="T0" fmla="*/ 54 w 54"/>
                <a:gd name="T1" fmla="*/ 27 h 54"/>
                <a:gd name="T2" fmla="*/ 27 w 54"/>
                <a:gd name="T3" fmla="*/ 0 h 54"/>
                <a:gd name="T4" fmla="*/ 0 w 54"/>
                <a:gd name="T5" fmla="*/ 27 h 54"/>
                <a:gd name="T6" fmla="*/ 27 w 54"/>
                <a:gd name="T7" fmla="*/ 54 h 54"/>
                <a:gd name="T8" fmla="*/ 54 w 54"/>
                <a:gd name="T9" fmla="*/ 27 h 54"/>
                <a:gd name="T10" fmla="*/ 27 w 54"/>
                <a:gd name="T11" fmla="*/ 44 h 54"/>
                <a:gd name="T12" fmla="*/ 9 w 54"/>
                <a:gd name="T13" fmla="*/ 27 h 54"/>
                <a:gd name="T14" fmla="*/ 27 w 54"/>
                <a:gd name="T15" fmla="*/ 9 h 54"/>
                <a:gd name="T16" fmla="*/ 44 w 54"/>
                <a:gd name="T17" fmla="*/ 27 h 54"/>
                <a:gd name="T18" fmla="*/ 27 w 54"/>
                <a:gd name="T19"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54" y="27"/>
                  </a:moveTo>
                  <a:cubicBezTo>
                    <a:pt x="54" y="12"/>
                    <a:pt x="42" y="0"/>
                    <a:pt x="27" y="0"/>
                  </a:cubicBezTo>
                  <a:cubicBezTo>
                    <a:pt x="12" y="0"/>
                    <a:pt x="0" y="12"/>
                    <a:pt x="0" y="27"/>
                  </a:cubicBezTo>
                  <a:cubicBezTo>
                    <a:pt x="0" y="42"/>
                    <a:pt x="12" y="54"/>
                    <a:pt x="27" y="54"/>
                  </a:cubicBezTo>
                  <a:cubicBezTo>
                    <a:pt x="42" y="54"/>
                    <a:pt x="54" y="42"/>
                    <a:pt x="54" y="27"/>
                  </a:cubicBezTo>
                  <a:close/>
                  <a:moveTo>
                    <a:pt x="27" y="44"/>
                  </a:moveTo>
                  <a:cubicBezTo>
                    <a:pt x="17" y="44"/>
                    <a:pt x="9" y="36"/>
                    <a:pt x="9" y="27"/>
                  </a:cubicBezTo>
                  <a:cubicBezTo>
                    <a:pt x="9" y="17"/>
                    <a:pt x="17" y="9"/>
                    <a:pt x="27" y="9"/>
                  </a:cubicBezTo>
                  <a:cubicBezTo>
                    <a:pt x="36" y="9"/>
                    <a:pt x="44" y="17"/>
                    <a:pt x="44" y="27"/>
                  </a:cubicBezTo>
                  <a:cubicBezTo>
                    <a:pt x="44" y="36"/>
                    <a:pt x="36" y="44"/>
                    <a:pt x="27"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1" name="Freeform 376">
              <a:extLst>
                <a:ext uri="{FF2B5EF4-FFF2-40B4-BE49-F238E27FC236}">
                  <a16:creationId xmlns:a16="http://schemas.microsoft.com/office/drawing/2014/main" id="{35357B98-F7A5-D0BE-93A0-8AEADFCBEF1A}"/>
                </a:ext>
              </a:extLst>
            </p:cNvPr>
            <p:cNvSpPr>
              <a:spLocks noEditPoints="1"/>
            </p:cNvSpPr>
            <p:nvPr/>
          </p:nvSpPr>
          <p:spPr bwMode="auto">
            <a:xfrm>
              <a:off x="9234488" y="2944813"/>
              <a:ext cx="280987" cy="420688"/>
            </a:xfrm>
            <a:custGeom>
              <a:avLst/>
              <a:gdLst>
                <a:gd name="T0" fmla="*/ 67 w 133"/>
                <a:gd name="T1" fmla="*/ 200 h 200"/>
                <a:gd name="T2" fmla="*/ 71 w 133"/>
                <a:gd name="T3" fmla="*/ 198 h 200"/>
                <a:gd name="T4" fmla="*/ 133 w 133"/>
                <a:gd name="T5" fmla="*/ 67 h 200"/>
                <a:gd name="T6" fmla="*/ 67 w 133"/>
                <a:gd name="T7" fmla="*/ 0 h 200"/>
                <a:gd name="T8" fmla="*/ 0 w 133"/>
                <a:gd name="T9" fmla="*/ 67 h 200"/>
                <a:gd name="T10" fmla="*/ 63 w 133"/>
                <a:gd name="T11" fmla="*/ 198 h 200"/>
                <a:gd name="T12" fmla="*/ 67 w 133"/>
                <a:gd name="T13" fmla="*/ 200 h 200"/>
                <a:gd name="T14" fmla="*/ 67 w 133"/>
                <a:gd name="T15" fmla="*/ 10 h 200"/>
                <a:gd name="T16" fmla="*/ 124 w 133"/>
                <a:gd name="T17" fmla="*/ 67 h 200"/>
                <a:gd name="T18" fmla="*/ 67 w 133"/>
                <a:gd name="T19" fmla="*/ 186 h 200"/>
                <a:gd name="T20" fmla="*/ 10 w 133"/>
                <a:gd name="T21" fmla="*/ 67 h 200"/>
                <a:gd name="T22" fmla="*/ 67 w 133"/>
                <a:gd name="T23" fmla="*/ 1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3" h="200">
                  <a:moveTo>
                    <a:pt x="67" y="200"/>
                  </a:moveTo>
                  <a:cubicBezTo>
                    <a:pt x="68" y="200"/>
                    <a:pt x="70" y="199"/>
                    <a:pt x="71" y="198"/>
                  </a:cubicBezTo>
                  <a:cubicBezTo>
                    <a:pt x="73" y="194"/>
                    <a:pt x="133" y="102"/>
                    <a:pt x="133" y="67"/>
                  </a:cubicBezTo>
                  <a:cubicBezTo>
                    <a:pt x="133" y="30"/>
                    <a:pt x="103" y="0"/>
                    <a:pt x="67" y="0"/>
                  </a:cubicBezTo>
                  <a:cubicBezTo>
                    <a:pt x="30" y="0"/>
                    <a:pt x="0" y="30"/>
                    <a:pt x="0" y="67"/>
                  </a:cubicBezTo>
                  <a:cubicBezTo>
                    <a:pt x="0" y="102"/>
                    <a:pt x="60" y="194"/>
                    <a:pt x="63" y="198"/>
                  </a:cubicBezTo>
                  <a:cubicBezTo>
                    <a:pt x="64" y="199"/>
                    <a:pt x="65" y="200"/>
                    <a:pt x="67" y="200"/>
                  </a:cubicBezTo>
                  <a:close/>
                  <a:moveTo>
                    <a:pt x="67" y="10"/>
                  </a:moveTo>
                  <a:cubicBezTo>
                    <a:pt x="98" y="10"/>
                    <a:pt x="124" y="35"/>
                    <a:pt x="124" y="67"/>
                  </a:cubicBezTo>
                  <a:cubicBezTo>
                    <a:pt x="124" y="94"/>
                    <a:pt x="80" y="165"/>
                    <a:pt x="67" y="186"/>
                  </a:cubicBezTo>
                  <a:cubicBezTo>
                    <a:pt x="53" y="165"/>
                    <a:pt x="10" y="94"/>
                    <a:pt x="10" y="67"/>
                  </a:cubicBezTo>
                  <a:cubicBezTo>
                    <a:pt x="10" y="35"/>
                    <a:pt x="35" y="10"/>
                    <a:pt x="67"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nvGrpSpPr>
          <p:cNvPr id="23" name="Group 22">
            <a:extLst>
              <a:ext uri="{FF2B5EF4-FFF2-40B4-BE49-F238E27FC236}">
                <a16:creationId xmlns:a16="http://schemas.microsoft.com/office/drawing/2014/main" id="{F7B88B2A-2B6D-C239-38AD-D5D487AC2438}"/>
              </a:ext>
            </a:extLst>
          </p:cNvPr>
          <p:cNvGrpSpPr/>
          <p:nvPr/>
        </p:nvGrpSpPr>
        <p:grpSpPr>
          <a:xfrm>
            <a:off x="6833461" y="4413890"/>
            <a:ext cx="268842" cy="438911"/>
            <a:chOff x="7658101" y="4575176"/>
            <a:chExt cx="277813" cy="476250"/>
          </a:xfrm>
          <a:solidFill>
            <a:schemeClr val="accent4"/>
          </a:solidFill>
        </p:grpSpPr>
        <p:sp>
          <p:nvSpPr>
            <p:cNvPr id="24" name="Freeform 331">
              <a:extLst>
                <a:ext uri="{FF2B5EF4-FFF2-40B4-BE49-F238E27FC236}">
                  <a16:creationId xmlns:a16="http://schemas.microsoft.com/office/drawing/2014/main" id="{6FBB3CE3-9CB1-93EC-6C8E-653DD749101A}"/>
                </a:ext>
              </a:extLst>
            </p:cNvPr>
            <p:cNvSpPr>
              <a:spLocks/>
            </p:cNvSpPr>
            <p:nvPr/>
          </p:nvSpPr>
          <p:spPr bwMode="auto">
            <a:xfrm>
              <a:off x="7710488" y="4862513"/>
              <a:ext cx="174625" cy="188913"/>
            </a:xfrm>
            <a:custGeom>
              <a:avLst/>
              <a:gdLst>
                <a:gd name="T0" fmla="*/ 82 w 87"/>
                <a:gd name="T1" fmla="*/ 0 h 94"/>
                <a:gd name="T2" fmla="*/ 77 w 87"/>
                <a:gd name="T3" fmla="*/ 5 h 94"/>
                <a:gd name="T4" fmla="*/ 77 w 87"/>
                <a:gd name="T5" fmla="*/ 77 h 94"/>
                <a:gd name="T6" fmla="*/ 47 w 87"/>
                <a:gd name="T7" fmla="*/ 47 h 94"/>
                <a:gd name="T8" fmla="*/ 40 w 87"/>
                <a:gd name="T9" fmla="*/ 47 h 94"/>
                <a:gd name="T10" fmla="*/ 10 w 87"/>
                <a:gd name="T11" fmla="*/ 77 h 94"/>
                <a:gd name="T12" fmla="*/ 10 w 87"/>
                <a:gd name="T13" fmla="*/ 5 h 94"/>
                <a:gd name="T14" fmla="*/ 5 w 87"/>
                <a:gd name="T15" fmla="*/ 0 h 94"/>
                <a:gd name="T16" fmla="*/ 0 w 87"/>
                <a:gd name="T17" fmla="*/ 5 h 94"/>
                <a:gd name="T18" fmla="*/ 0 w 87"/>
                <a:gd name="T19" fmla="*/ 89 h 94"/>
                <a:gd name="T20" fmla="*/ 3 w 87"/>
                <a:gd name="T21" fmla="*/ 93 h 94"/>
                <a:gd name="T22" fmla="*/ 5 w 87"/>
                <a:gd name="T23" fmla="*/ 93 h 94"/>
                <a:gd name="T24" fmla="*/ 8 w 87"/>
                <a:gd name="T25" fmla="*/ 92 h 94"/>
                <a:gd name="T26" fmla="*/ 43 w 87"/>
                <a:gd name="T27" fmla="*/ 57 h 94"/>
                <a:gd name="T28" fmla="*/ 79 w 87"/>
                <a:gd name="T29" fmla="*/ 92 h 94"/>
                <a:gd name="T30" fmla="*/ 84 w 87"/>
                <a:gd name="T31" fmla="*/ 93 h 94"/>
                <a:gd name="T32" fmla="*/ 87 w 87"/>
                <a:gd name="T33" fmla="*/ 89 h 94"/>
                <a:gd name="T34" fmla="*/ 87 w 87"/>
                <a:gd name="T35" fmla="*/ 5 h 94"/>
                <a:gd name="T36" fmla="*/ 82 w 87"/>
                <a:gd name="T3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94">
                  <a:moveTo>
                    <a:pt x="82" y="0"/>
                  </a:moveTo>
                  <a:cubicBezTo>
                    <a:pt x="79" y="0"/>
                    <a:pt x="77" y="2"/>
                    <a:pt x="77" y="5"/>
                  </a:cubicBezTo>
                  <a:cubicBezTo>
                    <a:pt x="77" y="77"/>
                    <a:pt x="77" y="77"/>
                    <a:pt x="77" y="77"/>
                  </a:cubicBezTo>
                  <a:cubicBezTo>
                    <a:pt x="47" y="47"/>
                    <a:pt x="47" y="47"/>
                    <a:pt x="47" y="47"/>
                  </a:cubicBezTo>
                  <a:cubicBezTo>
                    <a:pt x="45" y="45"/>
                    <a:pt x="42" y="45"/>
                    <a:pt x="40" y="47"/>
                  </a:cubicBezTo>
                  <a:cubicBezTo>
                    <a:pt x="10" y="77"/>
                    <a:pt x="10" y="77"/>
                    <a:pt x="10" y="77"/>
                  </a:cubicBezTo>
                  <a:cubicBezTo>
                    <a:pt x="10" y="5"/>
                    <a:pt x="10" y="5"/>
                    <a:pt x="10" y="5"/>
                  </a:cubicBezTo>
                  <a:cubicBezTo>
                    <a:pt x="10" y="2"/>
                    <a:pt x="8" y="0"/>
                    <a:pt x="5" y="0"/>
                  </a:cubicBezTo>
                  <a:cubicBezTo>
                    <a:pt x="2" y="0"/>
                    <a:pt x="0" y="2"/>
                    <a:pt x="0" y="5"/>
                  </a:cubicBezTo>
                  <a:cubicBezTo>
                    <a:pt x="0" y="89"/>
                    <a:pt x="0" y="89"/>
                    <a:pt x="0" y="89"/>
                  </a:cubicBezTo>
                  <a:cubicBezTo>
                    <a:pt x="0" y="90"/>
                    <a:pt x="1" y="92"/>
                    <a:pt x="3" y="93"/>
                  </a:cubicBezTo>
                  <a:cubicBezTo>
                    <a:pt x="4" y="93"/>
                    <a:pt x="4" y="93"/>
                    <a:pt x="5" y="93"/>
                  </a:cubicBezTo>
                  <a:cubicBezTo>
                    <a:pt x="6" y="93"/>
                    <a:pt x="7" y="93"/>
                    <a:pt x="8" y="92"/>
                  </a:cubicBezTo>
                  <a:cubicBezTo>
                    <a:pt x="43" y="57"/>
                    <a:pt x="43" y="57"/>
                    <a:pt x="43" y="57"/>
                  </a:cubicBezTo>
                  <a:cubicBezTo>
                    <a:pt x="79" y="92"/>
                    <a:pt x="79" y="92"/>
                    <a:pt x="79" y="92"/>
                  </a:cubicBezTo>
                  <a:cubicBezTo>
                    <a:pt x="80" y="93"/>
                    <a:pt x="82" y="94"/>
                    <a:pt x="84" y="93"/>
                  </a:cubicBezTo>
                  <a:cubicBezTo>
                    <a:pt x="86" y="92"/>
                    <a:pt x="87" y="90"/>
                    <a:pt x="87" y="89"/>
                  </a:cubicBezTo>
                  <a:cubicBezTo>
                    <a:pt x="87" y="5"/>
                    <a:pt x="87" y="5"/>
                    <a:pt x="87" y="5"/>
                  </a:cubicBezTo>
                  <a:cubicBezTo>
                    <a:pt x="87" y="2"/>
                    <a:pt x="85" y="0"/>
                    <a:pt x="8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5" name="Freeform 332">
              <a:extLst>
                <a:ext uri="{FF2B5EF4-FFF2-40B4-BE49-F238E27FC236}">
                  <a16:creationId xmlns:a16="http://schemas.microsoft.com/office/drawing/2014/main" id="{FE2155BA-F01C-458E-D9EE-1720BEE1B2B2}"/>
                </a:ext>
              </a:extLst>
            </p:cNvPr>
            <p:cNvSpPr>
              <a:spLocks noEditPoints="1"/>
            </p:cNvSpPr>
            <p:nvPr/>
          </p:nvSpPr>
          <p:spPr bwMode="auto">
            <a:xfrm>
              <a:off x="7658101" y="4575176"/>
              <a:ext cx="277813" cy="273050"/>
            </a:xfrm>
            <a:custGeom>
              <a:avLst/>
              <a:gdLst>
                <a:gd name="T0" fmla="*/ 134 w 138"/>
                <a:gd name="T1" fmla="*/ 43 h 136"/>
                <a:gd name="T2" fmla="*/ 113 w 138"/>
                <a:gd name="T3" fmla="*/ 27 h 136"/>
                <a:gd name="T4" fmla="*/ 97 w 138"/>
                <a:gd name="T5" fmla="*/ 5 h 136"/>
                <a:gd name="T6" fmla="*/ 70 w 138"/>
                <a:gd name="T7" fmla="*/ 8 h 136"/>
                <a:gd name="T8" fmla="*/ 44 w 138"/>
                <a:gd name="T9" fmla="*/ 3 h 136"/>
                <a:gd name="T10" fmla="*/ 27 w 138"/>
                <a:gd name="T11" fmla="*/ 25 h 136"/>
                <a:gd name="T12" fmla="*/ 5 w 138"/>
                <a:gd name="T13" fmla="*/ 40 h 136"/>
                <a:gd name="T14" fmla="*/ 9 w 138"/>
                <a:gd name="T15" fmla="*/ 67 h 136"/>
                <a:gd name="T16" fmla="*/ 4 w 138"/>
                <a:gd name="T17" fmla="*/ 94 h 136"/>
                <a:gd name="T18" fmla="*/ 25 w 138"/>
                <a:gd name="T19" fmla="*/ 110 h 136"/>
                <a:gd name="T20" fmla="*/ 41 w 138"/>
                <a:gd name="T21" fmla="*/ 132 h 136"/>
                <a:gd name="T22" fmla="*/ 68 w 138"/>
                <a:gd name="T23" fmla="*/ 129 h 136"/>
                <a:gd name="T24" fmla="*/ 85 w 138"/>
                <a:gd name="T25" fmla="*/ 135 h 136"/>
                <a:gd name="T26" fmla="*/ 94 w 138"/>
                <a:gd name="T27" fmla="*/ 134 h 136"/>
                <a:gd name="T28" fmla="*/ 111 w 138"/>
                <a:gd name="T29" fmla="*/ 112 h 136"/>
                <a:gd name="T30" fmla="*/ 133 w 138"/>
                <a:gd name="T31" fmla="*/ 97 h 136"/>
                <a:gd name="T32" fmla="*/ 129 w 138"/>
                <a:gd name="T33" fmla="*/ 70 h 136"/>
                <a:gd name="T34" fmla="*/ 134 w 138"/>
                <a:gd name="T35" fmla="*/ 43 h 136"/>
                <a:gd name="T36" fmla="*/ 119 w 138"/>
                <a:gd name="T37" fmla="*/ 73 h 136"/>
                <a:gd name="T38" fmla="*/ 124 w 138"/>
                <a:gd name="T39" fmla="*/ 93 h 136"/>
                <a:gd name="T40" fmla="*/ 107 w 138"/>
                <a:gd name="T41" fmla="*/ 103 h 136"/>
                <a:gd name="T42" fmla="*/ 103 w 138"/>
                <a:gd name="T43" fmla="*/ 104 h 136"/>
                <a:gd name="T44" fmla="*/ 101 w 138"/>
                <a:gd name="T45" fmla="*/ 108 h 136"/>
                <a:gd name="T46" fmla="*/ 91 w 138"/>
                <a:gd name="T47" fmla="*/ 125 h 136"/>
                <a:gd name="T48" fmla="*/ 72 w 138"/>
                <a:gd name="T49" fmla="*/ 119 h 136"/>
                <a:gd name="T50" fmla="*/ 68 w 138"/>
                <a:gd name="T51" fmla="*/ 117 h 136"/>
                <a:gd name="T52" fmla="*/ 68 w 138"/>
                <a:gd name="T53" fmla="*/ 117 h 136"/>
                <a:gd name="T54" fmla="*/ 64 w 138"/>
                <a:gd name="T55" fmla="*/ 119 h 136"/>
                <a:gd name="T56" fmla="*/ 45 w 138"/>
                <a:gd name="T57" fmla="*/ 123 h 136"/>
                <a:gd name="T58" fmla="*/ 35 w 138"/>
                <a:gd name="T59" fmla="*/ 106 h 136"/>
                <a:gd name="T60" fmla="*/ 34 w 138"/>
                <a:gd name="T61" fmla="*/ 102 h 136"/>
                <a:gd name="T62" fmla="*/ 30 w 138"/>
                <a:gd name="T63" fmla="*/ 101 h 136"/>
                <a:gd name="T64" fmla="*/ 13 w 138"/>
                <a:gd name="T65" fmla="*/ 90 h 136"/>
                <a:gd name="T66" fmla="*/ 18 w 138"/>
                <a:gd name="T67" fmla="*/ 71 h 136"/>
                <a:gd name="T68" fmla="*/ 20 w 138"/>
                <a:gd name="T69" fmla="*/ 67 h 136"/>
                <a:gd name="T70" fmla="*/ 19 w 138"/>
                <a:gd name="T71" fmla="*/ 64 h 136"/>
                <a:gd name="T72" fmla="*/ 14 w 138"/>
                <a:gd name="T73" fmla="*/ 44 h 136"/>
                <a:gd name="T74" fmla="*/ 31 w 138"/>
                <a:gd name="T75" fmla="*/ 35 h 136"/>
                <a:gd name="T76" fmla="*/ 35 w 138"/>
                <a:gd name="T77" fmla="*/ 33 h 136"/>
                <a:gd name="T78" fmla="*/ 37 w 138"/>
                <a:gd name="T79" fmla="*/ 29 h 136"/>
                <a:gd name="T80" fmla="*/ 47 w 138"/>
                <a:gd name="T81" fmla="*/ 12 h 136"/>
                <a:gd name="T82" fmla="*/ 66 w 138"/>
                <a:gd name="T83" fmla="*/ 18 h 136"/>
                <a:gd name="T84" fmla="*/ 70 w 138"/>
                <a:gd name="T85" fmla="*/ 20 h 136"/>
                <a:gd name="T86" fmla="*/ 74 w 138"/>
                <a:gd name="T87" fmla="*/ 18 h 136"/>
                <a:gd name="T88" fmla="*/ 93 w 138"/>
                <a:gd name="T89" fmla="*/ 14 h 136"/>
                <a:gd name="T90" fmla="*/ 103 w 138"/>
                <a:gd name="T91" fmla="*/ 31 h 136"/>
                <a:gd name="T92" fmla="*/ 104 w 138"/>
                <a:gd name="T93" fmla="*/ 35 h 136"/>
                <a:gd name="T94" fmla="*/ 108 w 138"/>
                <a:gd name="T95" fmla="*/ 36 h 136"/>
                <a:gd name="T96" fmla="*/ 125 w 138"/>
                <a:gd name="T97" fmla="*/ 47 h 136"/>
                <a:gd name="T98" fmla="*/ 120 w 138"/>
                <a:gd name="T99" fmla="*/ 66 h 136"/>
                <a:gd name="T100" fmla="*/ 118 w 138"/>
                <a:gd name="T101" fmla="*/ 70 h 136"/>
                <a:gd name="T102" fmla="*/ 119 w 138"/>
                <a:gd name="T103" fmla="*/ 7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8" h="136">
                  <a:moveTo>
                    <a:pt x="134" y="43"/>
                  </a:moveTo>
                  <a:cubicBezTo>
                    <a:pt x="131" y="34"/>
                    <a:pt x="122" y="28"/>
                    <a:pt x="113" y="27"/>
                  </a:cubicBezTo>
                  <a:cubicBezTo>
                    <a:pt x="112" y="17"/>
                    <a:pt x="106" y="9"/>
                    <a:pt x="97" y="5"/>
                  </a:cubicBezTo>
                  <a:cubicBezTo>
                    <a:pt x="88" y="1"/>
                    <a:pt x="78" y="2"/>
                    <a:pt x="70" y="8"/>
                  </a:cubicBezTo>
                  <a:cubicBezTo>
                    <a:pt x="63" y="2"/>
                    <a:pt x="53" y="0"/>
                    <a:pt x="44" y="3"/>
                  </a:cubicBezTo>
                  <a:cubicBezTo>
                    <a:pt x="35" y="7"/>
                    <a:pt x="28" y="15"/>
                    <a:pt x="27" y="25"/>
                  </a:cubicBezTo>
                  <a:cubicBezTo>
                    <a:pt x="18" y="26"/>
                    <a:pt x="9" y="32"/>
                    <a:pt x="5" y="40"/>
                  </a:cubicBezTo>
                  <a:cubicBezTo>
                    <a:pt x="1" y="49"/>
                    <a:pt x="3" y="59"/>
                    <a:pt x="9" y="67"/>
                  </a:cubicBezTo>
                  <a:cubicBezTo>
                    <a:pt x="2" y="74"/>
                    <a:pt x="0" y="85"/>
                    <a:pt x="4" y="94"/>
                  </a:cubicBezTo>
                  <a:cubicBezTo>
                    <a:pt x="7" y="103"/>
                    <a:pt x="16" y="109"/>
                    <a:pt x="25" y="110"/>
                  </a:cubicBezTo>
                  <a:cubicBezTo>
                    <a:pt x="26" y="120"/>
                    <a:pt x="32" y="128"/>
                    <a:pt x="41" y="132"/>
                  </a:cubicBezTo>
                  <a:cubicBezTo>
                    <a:pt x="50" y="136"/>
                    <a:pt x="60" y="135"/>
                    <a:pt x="68" y="129"/>
                  </a:cubicBezTo>
                  <a:cubicBezTo>
                    <a:pt x="72" y="133"/>
                    <a:pt x="79" y="135"/>
                    <a:pt x="85" y="135"/>
                  </a:cubicBezTo>
                  <a:cubicBezTo>
                    <a:pt x="88" y="135"/>
                    <a:pt x="91" y="135"/>
                    <a:pt x="94" y="134"/>
                  </a:cubicBezTo>
                  <a:cubicBezTo>
                    <a:pt x="103" y="130"/>
                    <a:pt x="110" y="122"/>
                    <a:pt x="111" y="112"/>
                  </a:cubicBezTo>
                  <a:cubicBezTo>
                    <a:pt x="120" y="111"/>
                    <a:pt x="129" y="105"/>
                    <a:pt x="133" y="97"/>
                  </a:cubicBezTo>
                  <a:cubicBezTo>
                    <a:pt x="137" y="88"/>
                    <a:pt x="135" y="78"/>
                    <a:pt x="129" y="70"/>
                  </a:cubicBezTo>
                  <a:cubicBezTo>
                    <a:pt x="136" y="63"/>
                    <a:pt x="138" y="52"/>
                    <a:pt x="134" y="43"/>
                  </a:cubicBezTo>
                  <a:close/>
                  <a:moveTo>
                    <a:pt x="119" y="73"/>
                  </a:moveTo>
                  <a:cubicBezTo>
                    <a:pt x="125" y="78"/>
                    <a:pt x="127" y="86"/>
                    <a:pt x="124" y="93"/>
                  </a:cubicBezTo>
                  <a:cubicBezTo>
                    <a:pt x="121" y="99"/>
                    <a:pt x="114" y="103"/>
                    <a:pt x="107" y="103"/>
                  </a:cubicBezTo>
                  <a:cubicBezTo>
                    <a:pt x="105" y="102"/>
                    <a:pt x="104" y="103"/>
                    <a:pt x="103" y="104"/>
                  </a:cubicBezTo>
                  <a:cubicBezTo>
                    <a:pt x="102" y="105"/>
                    <a:pt x="101" y="106"/>
                    <a:pt x="101" y="108"/>
                  </a:cubicBezTo>
                  <a:cubicBezTo>
                    <a:pt x="102" y="115"/>
                    <a:pt x="98" y="122"/>
                    <a:pt x="91" y="125"/>
                  </a:cubicBezTo>
                  <a:cubicBezTo>
                    <a:pt x="84" y="127"/>
                    <a:pt x="76" y="125"/>
                    <a:pt x="72" y="119"/>
                  </a:cubicBezTo>
                  <a:cubicBezTo>
                    <a:pt x="71" y="118"/>
                    <a:pt x="69" y="117"/>
                    <a:pt x="68" y="117"/>
                  </a:cubicBezTo>
                  <a:cubicBezTo>
                    <a:pt x="68" y="117"/>
                    <a:pt x="68" y="117"/>
                    <a:pt x="68" y="117"/>
                  </a:cubicBezTo>
                  <a:cubicBezTo>
                    <a:pt x="66" y="117"/>
                    <a:pt x="65" y="118"/>
                    <a:pt x="64" y="119"/>
                  </a:cubicBezTo>
                  <a:cubicBezTo>
                    <a:pt x="59" y="124"/>
                    <a:pt x="51" y="126"/>
                    <a:pt x="45" y="123"/>
                  </a:cubicBezTo>
                  <a:cubicBezTo>
                    <a:pt x="38" y="121"/>
                    <a:pt x="34" y="114"/>
                    <a:pt x="35" y="106"/>
                  </a:cubicBezTo>
                  <a:cubicBezTo>
                    <a:pt x="35" y="105"/>
                    <a:pt x="35" y="103"/>
                    <a:pt x="34" y="102"/>
                  </a:cubicBezTo>
                  <a:cubicBezTo>
                    <a:pt x="33" y="101"/>
                    <a:pt x="31" y="101"/>
                    <a:pt x="30" y="101"/>
                  </a:cubicBezTo>
                  <a:cubicBezTo>
                    <a:pt x="22" y="101"/>
                    <a:pt x="16" y="97"/>
                    <a:pt x="13" y="90"/>
                  </a:cubicBezTo>
                  <a:cubicBezTo>
                    <a:pt x="10" y="83"/>
                    <a:pt x="12" y="76"/>
                    <a:pt x="18" y="71"/>
                  </a:cubicBezTo>
                  <a:cubicBezTo>
                    <a:pt x="19" y="70"/>
                    <a:pt x="20" y="69"/>
                    <a:pt x="20" y="67"/>
                  </a:cubicBezTo>
                  <a:cubicBezTo>
                    <a:pt x="20" y="66"/>
                    <a:pt x="20" y="65"/>
                    <a:pt x="19" y="64"/>
                  </a:cubicBezTo>
                  <a:cubicBezTo>
                    <a:pt x="13" y="59"/>
                    <a:pt x="11" y="51"/>
                    <a:pt x="14" y="44"/>
                  </a:cubicBezTo>
                  <a:cubicBezTo>
                    <a:pt x="17" y="38"/>
                    <a:pt x="24" y="34"/>
                    <a:pt x="31" y="35"/>
                  </a:cubicBezTo>
                  <a:cubicBezTo>
                    <a:pt x="33" y="35"/>
                    <a:pt x="34" y="34"/>
                    <a:pt x="35" y="33"/>
                  </a:cubicBezTo>
                  <a:cubicBezTo>
                    <a:pt x="36" y="32"/>
                    <a:pt x="37" y="31"/>
                    <a:pt x="37" y="29"/>
                  </a:cubicBezTo>
                  <a:cubicBezTo>
                    <a:pt x="36" y="22"/>
                    <a:pt x="40" y="15"/>
                    <a:pt x="47" y="12"/>
                  </a:cubicBezTo>
                  <a:cubicBezTo>
                    <a:pt x="54" y="10"/>
                    <a:pt x="62" y="12"/>
                    <a:pt x="66" y="18"/>
                  </a:cubicBezTo>
                  <a:cubicBezTo>
                    <a:pt x="67" y="19"/>
                    <a:pt x="69" y="20"/>
                    <a:pt x="70" y="20"/>
                  </a:cubicBezTo>
                  <a:cubicBezTo>
                    <a:pt x="72" y="20"/>
                    <a:pt x="73" y="19"/>
                    <a:pt x="74" y="18"/>
                  </a:cubicBezTo>
                  <a:cubicBezTo>
                    <a:pt x="79" y="13"/>
                    <a:pt x="87" y="11"/>
                    <a:pt x="93" y="14"/>
                  </a:cubicBezTo>
                  <a:cubicBezTo>
                    <a:pt x="100" y="17"/>
                    <a:pt x="104" y="23"/>
                    <a:pt x="103" y="31"/>
                  </a:cubicBezTo>
                  <a:cubicBezTo>
                    <a:pt x="103" y="32"/>
                    <a:pt x="103" y="34"/>
                    <a:pt x="104" y="35"/>
                  </a:cubicBezTo>
                  <a:cubicBezTo>
                    <a:pt x="105" y="36"/>
                    <a:pt x="107" y="36"/>
                    <a:pt x="108" y="36"/>
                  </a:cubicBezTo>
                  <a:cubicBezTo>
                    <a:pt x="116" y="36"/>
                    <a:pt x="122" y="40"/>
                    <a:pt x="125" y="47"/>
                  </a:cubicBezTo>
                  <a:cubicBezTo>
                    <a:pt x="128" y="54"/>
                    <a:pt x="126" y="61"/>
                    <a:pt x="120" y="66"/>
                  </a:cubicBezTo>
                  <a:cubicBezTo>
                    <a:pt x="119" y="67"/>
                    <a:pt x="118" y="68"/>
                    <a:pt x="118" y="70"/>
                  </a:cubicBezTo>
                  <a:cubicBezTo>
                    <a:pt x="118" y="71"/>
                    <a:pt x="118" y="72"/>
                    <a:pt x="119" y="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6" name="Freeform 333">
              <a:extLst>
                <a:ext uri="{FF2B5EF4-FFF2-40B4-BE49-F238E27FC236}">
                  <a16:creationId xmlns:a16="http://schemas.microsoft.com/office/drawing/2014/main" id="{0FC390A8-3887-92A5-9DD0-C79151B5CB8F}"/>
                </a:ext>
              </a:extLst>
            </p:cNvPr>
            <p:cNvSpPr>
              <a:spLocks noEditPoints="1"/>
            </p:cNvSpPr>
            <p:nvPr/>
          </p:nvSpPr>
          <p:spPr bwMode="auto">
            <a:xfrm>
              <a:off x="7739063" y="4662488"/>
              <a:ext cx="115888" cy="101600"/>
            </a:xfrm>
            <a:custGeom>
              <a:avLst/>
              <a:gdLst>
                <a:gd name="T0" fmla="*/ 39 w 58"/>
                <a:gd name="T1" fmla="*/ 2 h 51"/>
                <a:gd name="T2" fmla="*/ 29 w 58"/>
                <a:gd name="T3" fmla="*/ 0 h 51"/>
                <a:gd name="T4" fmla="*/ 5 w 58"/>
                <a:gd name="T5" fmla="*/ 15 h 51"/>
                <a:gd name="T6" fmla="*/ 19 w 58"/>
                <a:gd name="T7" fmla="*/ 49 h 51"/>
                <a:gd name="T8" fmla="*/ 29 w 58"/>
                <a:gd name="T9" fmla="*/ 51 h 51"/>
                <a:gd name="T10" fmla="*/ 53 w 58"/>
                <a:gd name="T11" fmla="*/ 36 h 51"/>
                <a:gd name="T12" fmla="*/ 39 w 58"/>
                <a:gd name="T13" fmla="*/ 2 h 51"/>
                <a:gd name="T14" fmla="*/ 44 w 58"/>
                <a:gd name="T15" fmla="*/ 32 h 51"/>
                <a:gd name="T16" fmla="*/ 29 w 58"/>
                <a:gd name="T17" fmla="*/ 42 h 51"/>
                <a:gd name="T18" fmla="*/ 22 w 58"/>
                <a:gd name="T19" fmla="*/ 40 h 51"/>
                <a:gd name="T20" fmla="*/ 14 w 58"/>
                <a:gd name="T21" fmla="*/ 19 h 51"/>
                <a:gd name="T22" fmla="*/ 29 w 58"/>
                <a:gd name="T23" fmla="*/ 9 h 51"/>
                <a:gd name="T24" fmla="*/ 35 w 58"/>
                <a:gd name="T25" fmla="*/ 11 h 51"/>
                <a:gd name="T26" fmla="*/ 44 w 58"/>
                <a:gd name="T27"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1">
                  <a:moveTo>
                    <a:pt x="39" y="2"/>
                  </a:moveTo>
                  <a:cubicBezTo>
                    <a:pt x="36" y="0"/>
                    <a:pt x="33" y="0"/>
                    <a:pt x="29" y="0"/>
                  </a:cubicBezTo>
                  <a:cubicBezTo>
                    <a:pt x="19" y="0"/>
                    <a:pt x="10" y="6"/>
                    <a:pt x="5" y="15"/>
                  </a:cubicBezTo>
                  <a:cubicBezTo>
                    <a:pt x="0" y="28"/>
                    <a:pt x="6" y="43"/>
                    <a:pt x="19" y="49"/>
                  </a:cubicBezTo>
                  <a:cubicBezTo>
                    <a:pt x="22" y="51"/>
                    <a:pt x="25" y="51"/>
                    <a:pt x="29" y="51"/>
                  </a:cubicBezTo>
                  <a:cubicBezTo>
                    <a:pt x="39" y="51"/>
                    <a:pt x="48" y="45"/>
                    <a:pt x="53" y="36"/>
                  </a:cubicBezTo>
                  <a:cubicBezTo>
                    <a:pt x="58" y="23"/>
                    <a:pt x="52" y="8"/>
                    <a:pt x="39" y="2"/>
                  </a:cubicBezTo>
                  <a:close/>
                  <a:moveTo>
                    <a:pt x="44" y="32"/>
                  </a:moveTo>
                  <a:cubicBezTo>
                    <a:pt x="41" y="38"/>
                    <a:pt x="35" y="42"/>
                    <a:pt x="29" y="42"/>
                  </a:cubicBezTo>
                  <a:cubicBezTo>
                    <a:pt x="27" y="42"/>
                    <a:pt x="25" y="41"/>
                    <a:pt x="22" y="40"/>
                  </a:cubicBezTo>
                  <a:cubicBezTo>
                    <a:pt x="14" y="37"/>
                    <a:pt x="11" y="27"/>
                    <a:pt x="14" y="19"/>
                  </a:cubicBezTo>
                  <a:cubicBezTo>
                    <a:pt x="17" y="13"/>
                    <a:pt x="23" y="9"/>
                    <a:pt x="29" y="9"/>
                  </a:cubicBezTo>
                  <a:cubicBezTo>
                    <a:pt x="31" y="9"/>
                    <a:pt x="33" y="10"/>
                    <a:pt x="35" y="11"/>
                  </a:cubicBezTo>
                  <a:cubicBezTo>
                    <a:pt x="44" y="14"/>
                    <a:pt x="47" y="24"/>
                    <a:pt x="44"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sp>
        <p:nvSpPr>
          <p:cNvPr id="31" name="TextBox 30">
            <a:extLst>
              <a:ext uri="{FF2B5EF4-FFF2-40B4-BE49-F238E27FC236}">
                <a16:creationId xmlns:a16="http://schemas.microsoft.com/office/drawing/2014/main" id="{0EB9768B-495F-DC32-1F98-4CAFADE2689B}"/>
              </a:ext>
            </a:extLst>
          </p:cNvPr>
          <p:cNvSpPr txBox="1"/>
          <p:nvPr/>
        </p:nvSpPr>
        <p:spPr>
          <a:xfrm>
            <a:off x="753912" y="4809518"/>
            <a:ext cx="2296507" cy="1421928"/>
          </a:xfrm>
          <a:prstGeom prst="rect">
            <a:avLst/>
          </a:prstGeom>
          <a:noFill/>
        </p:spPr>
        <p:txBody>
          <a:bodyPr wrap="square" rtlCol="0">
            <a:spAutoFit/>
          </a:bodyPr>
          <a:lstStyle/>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lang="en-US" sz="1600">
                <a:latin typeface="+mn-lt"/>
                <a:ea typeface="Montserrat Light" charset="0"/>
                <a:cs typeface="Montserrat Light" charset="0"/>
              </a:rPr>
              <a:t>Completes one of the pending Appendix K Objectives related to restructuring settings or ending subminimum wage arrangements </a:t>
            </a:r>
          </a:p>
        </p:txBody>
      </p:sp>
      <p:sp>
        <p:nvSpPr>
          <p:cNvPr id="33" name="TextBox 32">
            <a:extLst>
              <a:ext uri="{FF2B5EF4-FFF2-40B4-BE49-F238E27FC236}">
                <a16:creationId xmlns:a16="http://schemas.microsoft.com/office/drawing/2014/main" id="{2B6E25E0-B8E9-17F8-3039-F35903CCA732}"/>
              </a:ext>
            </a:extLst>
          </p:cNvPr>
          <p:cNvSpPr txBox="1"/>
          <p:nvPr/>
        </p:nvSpPr>
        <p:spPr>
          <a:xfrm>
            <a:off x="1023109" y="2696171"/>
            <a:ext cx="10639227" cy="367280"/>
          </a:xfrm>
          <a:prstGeom prst="rect">
            <a:avLst/>
          </a:prstGeom>
          <a:noFill/>
        </p:spPr>
        <p:txBody>
          <a:bodyPr wrap="square" rtlCol="0">
            <a:spAutoFit/>
          </a:bodyPr>
          <a:lstStyle/>
          <a:p>
            <a:pPr marL="0" marR="0" lvl="0" indent="0" algn="l" defTabSz="914400" rtl="0" eaLnBrk="1" fontAlgn="auto" latinLnBrk="0" hangingPunct="1">
              <a:lnSpc>
                <a:spcPct val="103000"/>
              </a:lnSpc>
              <a:spcBef>
                <a:spcPts val="1000"/>
              </a:spcBef>
              <a:spcAft>
                <a:spcPts val="0"/>
              </a:spcAft>
              <a:buClr>
                <a:srgbClr val="787878"/>
              </a:buClr>
              <a:buSzPct val="75000"/>
              <a:buFont typeface="Arial" panose="020B0604020202020204" pitchFamily="34" charset="0"/>
              <a:buNone/>
              <a:tabLst/>
              <a:defRPr/>
            </a:pPr>
            <a:r>
              <a:rPr kumimoji="0" lang="en-US" b="0" i="0" u="none" strike="noStrike" kern="1200" cap="none" spc="-30" normalizeH="0" baseline="0" noProof="0">
                <a:ln>
                  <a:noFill/>
                </a:ln>
                <a:solidFill>
                  <a:prstClr val="black"/>
                </a:solidFill>
                <a:effectLst/>
                <a:uLnTx/>
                <a:uFillTx/>
                <a:ea typeface="Montserrat Light" charset="0"/>
                <a:cs typeface="Montserrat Light" charset="0"/>
              </a:rPr>
              <a:t>Plan for transitioning individuals from a congregate to a non-congregate, community-based setting</a:t>
            </a:r>
          </a:p>
        </p:txBody>
      </p:sp>
      <p:sp>
        <p:nvSpPr>
          <p:cNvPr id="34" name="TextBox 33">
            <a:extLst>
              <a:ext uri="{FF2B5EF4-FFF2-40B4-BE49-F238E27FC236}">
                <a16:creationId xmlns:a16="http://schemas.microsoft.com/office/drawing/2014/main" id="{E5CF0E08-2AD2-CB66-47B3-D4EBA24FC2F5}"/>
              </a:ext>
            </a:extLst>
          </p:cNvPr>
          <p:cNvSpPr txBox="1"/>
          <p:nvPr/>
        </p:nvSpPr>
        <p:spPr>
          <a:xfrm>
            <a:off x="4204949" y="4809518"/>
            <a:ext cx="2276336" cy="1323439"/>
          </a:xfrm>
          <a:prstGeom prst="rect">
            <a:avLst/>
          </a:prstGeom>
          <a:noFill/>
        </p:spPr>
        <p:txBody>
          <a:bodyPr wrap="square" rtlCol="0">
            <a:spAutoFit/>
          </a:bodyPr>
          <a:lstStyle/>
          <a:p>
            <a:r>
              <a:rPr lang="en-US" sz="1600">
                <a:latin typeface="+mn-lt"/>
              </a:rPr>
              <a:t>The number of people or settings impacted is significant for the agency and represents real transformation</a:t>
            </a:r>
          </a:p>
        </p:txBody>
      </p:sp>
      <p:sp>
        <p:nvSpPr>
          <p:cNvPr id="35" name="TextBox 34">
            <a:extLst>
              <a:ext uri="{FF2B5EF4-FFF2-40B4-BE49-F238E27FC236}">
                <a16:creationId xmlns:a16="http://schemas.microsoft.com/office/drawing/2014/main" id="{7FD4800E-638B-FCF1-EF22-F31BF3CD8CCE}"/>
              </a:ext>
            </a:extLst>
          </p:cNvPr>
          <p:cNvSpPr txBox="1"/>
          <p:nvPr/>
        </p:nvSpPr>
        <p:spPr>
          <a:xfrm>
            <a:off x="7225563" y="4809518"/>
            <a:ext cx="2067540" cy="1200329"/>
          </a:xfrm>
          <a:prstGeom prst="rect">
            <a:avLst/>
          </a:prstGeom>
          <a:noFill/>
        </p:spPr>
        <p:txBody>
          <a:bodyPr wrap="square" rtlCol="0">
            <a:spAutoFit/>
          </a:bodyPr>
          <a:lstStyle/>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kumimoji="0" lang="en-US" sz="1600" b="0" i="0" u="none" strike="noStrike" kern="1200" cap="none" spc="-30" normalizeH="0" baseline="0" noProof="0">
                <a:ln>
                  <a:noFill/>
                </a:ln>
                <a:solidFill>
                  <a:prstClr val="black"/>
                </a:solidFill>
                <a:effectLst/>
                <a:uLnTx/>
                <a:uFillTx/>
                <a:ea typeface="Montserrat Light" charset="0"/>
                <a:cs typeface="Montserrat Light" charset="0"/>
              </a:rPr>
              <a:t>Tests a new approach for the agency with the potential for growth and capacity to serve more individuals</a:t>
            </a:r>
          </a:p>
        </p:txBody>
      </p:sp>
      <p:pic>
        <p:nvPicPr>
          <p:cNvPr id="5" name="Graphic 4" descr="Completed with solid fill">
            <a:extLst>
              <a:ext uri="{FF2B5EF4-FFF2-40B4-BE49-F238E27FC236}">
                <a16:creationId xmlns:a16="http://schemas.microsoft.com/office/drawing/2014/main" id="{340A21AA-B471-4495-E993-35B49BD8302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5926" y="2309295"/>
            <a:ext cx="548640" cy="548640"/>
          </a:xfrm>
          <a:prstGeom prst="rect">
            <a:avLst/>
          </a:prstGeom>
        </p:spPr>
      </p:pic>
      <p:pic>
        <p:nvPicPr>
          <p:cNvPr id="38" name="Graphic 37" descr="Cycle with people outline">
            <a:extLst>
              <a:ext uri="{FF2B5EF4-FFF2-40B4-BE49-F238E27FC236}">
                <a16:creationId xmlns:a16="http://schemas.microsoft.com/office/drawing/2014/main" id="{53A142C7-E758-62F5-08AF-A9742A94406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36099" y="4322449"/>
            <a:ext cx="640080" cy="640080"/>
          </a:xfrm>
          <a:prstGeom prst="rect">
            <a:avLst/>
          </a:prstGeom>
        </p:spPr>
      </p:pic>
      <p:sp>
        <p:nvSpPr>
          <p:cNvPr id="2" name="Content Placeholder 2">
            <a:extLst>
              <a:ext uri="{FF2B5EF4-FFF2-40B4-BE49-F238E27FC236}">
                <a16:creationId xmlns:a16="http://schemas.microsoft.com/office/drawing/2014/main" id="{D5FB8094-B677-94F7-555C-4B8021E66E32}"/>
              </a:ext>
            </a:extLst>
          </p:cNvPr>
          <p:cNvSpPr txBox="1">
            <a:spLocks/>
          </p:cNvSpPr>
          <p:nvPr/>
        </p:nvSpPr>
        <p:spPr>
          <a:xfrm>
            <a:off x="9857626" y="4397474"/>
            <a:ext cx="2067540" cy="398486"/>
          </a:xfrm>
          <a:prstGeom prst="rect">
            <a:avLst/>
          </a:prstGeom>
        </p:spPr>
        <p:txBody>
          <a:bodyPr lIns="0" rIns="0"/>
          <a:lstStyle>
            <a:defPPr>
              <a:defRPr lang="en-US"/>
            </a:defPPr>
            <a:lvl1pPr indent="0">
              <a:lnSpc>
                <a:spcPct val="100000"/>
              </a:lnSpc>
              <a:spcBef>
                <a:spcPts val="1000"/>
              </a:spcBef>
              <a:buClr>
                <a:schemeClr val="accent5"/>
              </a:buClr>
              <a:buSzPct val="75000"/>
              <a:buFont typeface="Arial" panose="020B0604020202020204" pitchFamily="34" charset="0"/>
              <a:buNone/>
              <a:defRPr sz="2000" spc="-30">
                <a:solidFill>
                  <a:prstClr val="black"/>
                </a:solidFill>
                <a:ea typeface="Open Sans" charset="0"/>
                <a:cs typeface="Open Sans" charset="0"/>
              </a:defRPr>
            </a:lvl1pPr>
            <a:lvl2pPr marL="685800" indent="-228600">
              <a:lnSpc>
                <a:spcPct val="100000"/>
              </a:lnSpc>
              <a:spcBef>
                <a:spcPts val="500"/>
              </a:spcBef>
              <a:buClr>
                <a:schemeClr val="accent5"/>
              </a:buClr>
              <a:buSzPct val="75000"/>
              <a:buFont typeface="Arial" panose="020B0604020202020204" pitchFamily="34" charset="0"/>
              <a:buChar char="•"/>
              <a:defRPr spc="-30">
                <a:ea typeface="Open Sans" charset="0"/>
                <a:cs typeface="Open Sans" charset="0"/>
              </a:defRPr>
            </a:lvl2pPr>
            <a:lvl3pPr marL="1143000" indent="-228600">
              <a:lnSpc>
                <a:spcPct val="100000"/>
              </a:lnSpc>
              <a:spcBef>
                <a:spcPts val="500"/>
              </a:spcBef>
              <a:buClr>
                <a:schemeClr val="accent5"/>
              </a:buClr>
              <a:buSzPct val="75000"/>
              <a:buFont typeface="Arial" panose="020B0604020202020204" pitchFamily="34" charset="0"/>
              <a:buChar char="•"/>
              <a:defRPr sz="1600" spc="-30">
                <a:ea typeface="Open Sans" charset="0"/>
                <a:cs typeface="Open Sans" charset="0"/>
              </a:defRPr>
            </a:lvl3pPr>
            <a:lvl4pPr marL="16002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4pPr>
            <a:lvl5pPr marL="2057400" indent="-228600">
              <a:lnSpc>
                <a:spcPct val="100000"/>
              </a:lnSpc>
              <a:spcBef>
                <a:spcPts val="500"/>
              </a:spcBef>
              <a:buClr>
                <a:schemeClr val="accent5"/>
              </a:buClr>
              <a:buSzPct val="75000"/>
              <a:buFont typeface="Arial" panose="020B0604020202020204" pitchFamily="34" charset="0"/>
              <a:buChar char="•"/>
              <a:defRPr sz="1400" spc="-3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kumimoji="0" lang="en-US" sz="1800" b="1" i="0" u="none" strike="noStrike" kern="1200" cap="none" spc="-30" normalizeH="0" baseline="0" noProof="0">
                <a:ln>
                  <a:noFill/>
                </a:ln>
                <a:solidFill>
                  <a:prstClr val="black"/>
                </a:solidFill>
                <a:effectLst/>
                <a:uLnTx/>
                <a:uFillTx/>
                <a:ea typeface="Montserrat" charset="0"/>
                <a:cs typeface="Montserrat" charset="0"/>
              </a:rPr>
              <a:t>NEW PROGRAMS</a:t>
            </a:r>
          </a:p>
        </p:txBody>
      </p:sp>
      <p:sp>
        <p:nvSpPr>
          <p:cNvPr id="12" name="TextBox 11">
            <a:extLst>
              <a:ext uri="{FF2B5EF4-FFF2-40B4-BE49-F238E27FC236}">
                <a16:creationId xmlns:a16="http://schemas.microsoft.com/office/drawing/2014/main" id="{1888176D-B50E-2797-4372-D5E043D20072}"/>
              </a:ext>
            </a:extLst>
          </p:cNvPr>
          <p:cNvSpPr txBox="1"/>
          <p:nvPr/>
        </p:nvSpPr>
        <p:spPr>
          <a:xfrm>
            <a:off x="9857626" y="4772890"/>
            <a:ext cx="2067540" cy="1200329"/>
          </a:xfrm>
          <a:prstGeom prst="rect">
            <a:avLst/>
          </a:prstGeom>
          <a:noFill/>
        </p:spPr>
        <p:txBody>
          <a:bodyPr wrap="square" rtlCol="0">
            <a:spAutoFit/>
          </a:bodyPr>
          <a:lstStyle/>
          <a:p>
            <a:pPr marL="0" marR="0" lvl="0" indent="0" algn="l" defTabSz="914400" rtl="0" eaLnBrk="1" fontAlgn="auto" latinLnBrk="0" hangingPunct="1">
              <a:lnSpc>
                <a:spcPct val="90000"/>
              </a:lnSpc>
              <a:spcBef>
                <a:spcPts val="1000"/>
              </a:spcBef>
              <a:spcAft>
                <a:spcPts val="0"/>
              </a:spcAft>
              <a:buClr>
                <a:srgbClr val="787878"/>
              </a:buClr>
              <a:buSzPct val="75000"/>
              <a:buFont typeface="Arial" panose="020B0604020202020204" pitchFamily="34" charset="0"/>
              <a:buNone/>
              <a:tabLst/>
              <a:defRPr/>
            </a:pPr>
            <a:r>
              <a:rPr kumimoji="0" lang="en-US" sz="1600" b="0" i="0" u="none" strike="noStrike" kern="1200" cap="none" spc="-30" normalizeH="0" baseline="0" noProof="0">
                <a:ln>
                  <a:noFill/>
                </a:ln>
                <a:solidFill>
                  <a:prstClr val="black"/>
                </a:solidFill>
                <a:effectLst/>
                <a:uLnTx/>
                <a:uFillTx/>
                <a:ea typeface="Montserrat Light" charset="0"/>
                <a:cs typeface="Montserrat Light" charset="0"/>
              </a:rPr>
              <a:t>Creates or expands an agency’s capacity to provide individualized supports through new programs or offerings</a:t>
            </a:r>
          </a:p>
        </p:txBody>
      </p:sp>
      <p:pic>
        <p:nvPicPr>
          <p:cNvPr id="32" name="Graphic 31" descr="Badge Follow outline">
            <a:extLst>
              <a:ext uri="{FF2B5EF4-FFF2-40B4-BE49-F238E27FC236}">
                <a16:creationId xmlns:a16="http://schemas.microsoft.com/office/drawing/2014/main" id="{5A90B494-553D-5BFC-7B42-EFD197356B0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22078" y="4353615"/>
            <a:ext cx="457200" cy="457200"/>
          </a:xfrm>
          <a:prstGeom prst="rect">
            <a:avLst/>
          </a:prstGeom>
        </p:spPr>
      </p:pic>
    </p:spTree>
    <p:extLst>
      <p:ext uri="{BB962C8B-B14F-4D97-AF65-F5344CB8AC3E}">
        <p14:creationId xmlns:p14="http://schemas.microsoft.com/office/powerpoint/2010/main" val="20617369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0272FB6-DC83-49E8-83B0-ABAE93C962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95576" y="200175"/>
            <a:ext cx="764009" cy="1011099"/>
          </a:xfrm>
          <a:prstGeom prst="rect">
            <a:avLst/>
          </a:prstGeom>
        </p:spPr>
      </p:pic>
      <p:pic>
        <p:nvPicPr>
          <p:cNvPr id="4" name="Picture 2" descr="CT Department of Developmental Disabilities | LinkedIn">
            <a:extLst>
              <a:ext uri="{FF2B5EF4-FFF2-40B4-BE49-F238E27FC236}">
                <a16:creationId xmlns:a16="http://schemas.microsoft.com/office/drawing/2014/main" id="{5517EC61-3D94-4854-8951-6FCEDAB51E4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6295" y="200175"/>
            <a:ext cx="764009" cy="24440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35BC91F4-2E40-4374-98E4-04D6CFB0D7C5}"/>
              </a:ext>
            </a:extLst>
          </p:cNvPr>
          <p:cNvSpPr/>
          <p:nvPr/>
        </p:nvSpPr>
        <p:spPr>
          <a:xfrm>
            <a:off x="0" y="3150703"/>
            <a:ext cx="9422296" cy="904461"/>
          </a:xfrm>
          <a:prstGeom prst="rect">
            <a:avLst/>
          </a:prstGeom>
          <a:noFill/>
          <a:ln w="28575">
            <a:solidFill>
              <a:srgbClr val="E03C3A"/>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b"/>
          <a:lstStyle/>
          <a:p>
            <a:r>
              <a:rPr lang="en-US" sz="4800">
                <a:solidFill>
                  <a:schemeClr val="tx1"/>
                </a:solidFill>
              </a:rPr>
              <a:t>Live Template Review</a:t>
            </a:r>
            <a:endParaRPr lang="en-US" sz="4800">
              <a:solidFill>
                <a:schemeClr val="tx1"/>
              </a:solidFill>
              <a:cs typeface="Calibri"/>
            </a:endParaRPr>
          </a:p>
        </p:txBody>
      </p:sp>
      <p:sp>
        <p:nvSpPr>
          <p:cNvPr id="6" name="Rectangle 5">
            <a:extLst>
              <a:ext uri="{FF2B5EF4-FFF2-40B4-BE49-F238E27FC236}">
                <a16:creationId xmlns:a16="http://schemas.microsoft.com/office/drawing/2014/main" id="{907CD1EF-DCD2-48D7-AD53-907055C7D114}"/>
              </a:ext>
            </a:extLst>
          </p:cNvPr>
          <p:cNvSpPr/>
          <p:nvPr/>
        </p:nvSpPr>
        <p:spPr>
          <a:xfrm>
            <a:off x="6524368" y="3150703"/>
            <a:ext cx="2897928" cy="904461"/>
          </a:xfrm>
          <a:prstGeom prst="rect">
            <a:avLst/>
          </a:prstGeom>
          <a:solidFill>
            <a:srgbClr val="E03C3A"/>
          </a:solidFill>
          <a:ln w="28575">
            <a:solidFill>
              <a:srgbClr val="E03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6000">
              <a:solidFill>
                <a:schemeClr val="tx1"/>
              </a:solidFill>
            </a:endParaRPr>
          </a:p>
        </p:txBody>
      </p:sp>
      <p:cxnSp>
        <p:nvCxnSpPr>
          <p:cNvPr id="8" name="Straight Connector 7">
            <a:extLst>
              <a:ext uri="{FF2B5EF4-FFF2-40B4-BE49-F238E27FC236}">
                <a16:creationId xmlns:a16="http://schemas.microsoft.com/office/drawing/2014/main" id="{EA62C180-5CC1-4241-80F4-48F511C1CAEC}"/>
              </a:ext>
            </a:extLst>
          </p:cNvPr>
          <p:cNvCxnSpPr>
            <a:cxnSpLocks/>
          </p:cNvCxnSpPr>
          <p:nvPr/>
        </p:nvCxnSpPr>
        <p:spPr>
          <a:xfrm>
            <a:off x="397566" y="4353339"/>
            <a:ext cx="3856383" cy="0"/>
          </a:xfrm>
          <a:prstGeom prst="line">
            <a:avLst/>
          </a:prstGeom>
          <a:ln w="19050">
            <a:solidFill>
              <a:srgbClr val="E03C3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34451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729706F-6BCA-2740-74A5-F4D0B45EEB86}"/>
              </a:ext>
            </a:extLst>
          </p:cNvPr>
          <p:cNvSpPr txBox="1"/>
          <p:nvPr/>
        </p:nvSpPr>
        <p:spPr>
          <a:xfrm>
            <a:off x="326491" y="1211263"/>
            <a:ext cx="8946293" cy="2217738"/>
          </a:xfrm>
          <a:prstGeom prst="rect">
            <a:avLst/>
          </a:prstGeom>
        </p:spPr>
        <p:txBody>
          <a:bodyPr vert="horz" lIns="0" tIns="0" rIns="0" bIns="0" rtlCol="0">
            <a:normAutofit/>
          </a:bodyPr>
          <a:lstStyle/>
          <a:p>
            <a:pPr marL="285750" indent="-285750" defTabSz="1219170">
              <a:spcAft>
                <a:spcPts val="1333"/>
              </a:spcAft>
              <a:buSzPct val="100000"/>
              <a:buFont typeface="Arial" panose="020B0604020202020204" pitchFamily="34" charset="0"/>
              <a:buChar char="•"/>
            </a:pPr>
            <a:r>
              <a:rPr lang="en-US" sz="2000" i="0" u="none" strike="noStrike" baseline="0"/>
              <a:t>Consistency</a:t>
            </a:r>
          </a:p>
          <a:p>
            <a:pPr marL="285750" indent="-285750" defTabSz="1219170">
              <a:spcAft>
                <a:spcPts val="1333"/>
              </a:spcAft>
              <a:buSzPct val="100000"/>
              <a:buFont typeface="Arial" panose="020B0604020202020204" pitchFamily="34" charset="0"/>
              <a:buChar char="•"/>
            </a:pPr>
            <a:r>
              <a:rPr lang="en-US" sz="2000"/>
              <a:t>Rating checkpoints throughout the template</a:t>
            </a:r>
          </a:p>
          <a:p>
            <a:pPr marL="285750" indent="-285750" defTabSz="1219170">
              <a:spcAft>
                <a:spcPts val="1333"/>
              </a:spcAft>
              <a:buSzPct val="100000"/>
              <a:buFont typeface="Arial" panose="020B0604020202020204" pitchFamily="34" charset="0"/>
              <a:buChar char="•"/>
            </a:pPr>
            <a:r>
              <a:rPr lang="en-US" sz="2000" i="0" u="none" strike="noStrike" baseline="0"/>
              <a:t>What to know if review team has different ratings </a:t>
            </a:r>
          </a:p>
          <a:p>
            <a:pPr marL="285750" indent="-285750" defTabSz="1219170">
              <a:spcAft>
                <a:spcPts val="1333"/>
              </a:spcAft>
              <a:buSzPct val="100000"/>
              <a:buFont typeface="Arial" panose="020B0604020202020204" pitchFamily="34" charset="0"/>
              <a:buChar char="•"/>
            </a:pPr>
            <a:r>
              <a:rPr lang="en-US" sz="2000"/>
              <a:t>Reviewer notes field is intended to describe necessary edits and does not need to be completed for sections that “Meet requirements”:</a:t>
            </a:r>
          </a:p>
        </p:txBody>
      </p:sp>
      <p:pic>
        <p:nvPicPr>
          <p:cNvPr id="3" name="Picture 2">
            <a:extLst>
              <a:ext uri="{FF2B5EF4-FFF2-40B4-BE49-F238E27FC236}">
                <a16:creationId xmlns:a16="http://schemas.microsoft.com/office/drawing/2014/main" id="{957B4EFC-6449-D024-C076-5F4538B90F35}"/>
              </a:ext>
            </a:extLst>
          </p:cNvPr>
          <p:cNvPicPr>
            <a:picLocks noChangeAspect="1"/>
          </p:cNvPicPr>
          <p:nvPr/>
        </p:nvPicPr>
        <p:blipFill>
          <a:blip r:embed="rId3"/>
          <a:stretch>
            <a:fillRect/>
          </a:stretch>
        </p:blipFill>
        <p:spPr>
          <a:xfrm>
            <a:off x="326490" y="3429000"/>
            <a:ext cx="8946293" cy="3377682"/>
          </a:xfrm>
          <a:prstGeom prst="rect">
            <a:avLst/>
          </a:prstGeom>
          <a:ln>
            <a:solidFill>
              <a:schemeClr val="bg1">
                <a:lumMod val="75000"/>
              </a:schemeClr>
            </a:solidFill>
          </a:ln>
        </p:spPr>
      </p:pic>
      <p:sp>
        <p:nvSpPr>
          <p:cNvPr id="7" name="TextBox 6">
            <a:extLst>
              <a:ext uri="{FF2B5EF4-FFF2-40B4-BE49-F238E27FC236}">
                <a16:creationId xmlns:a16="http://schemas.microsoft.com/office/drawing/2014/main" id="{4B23F9D0-ECC1-069A-6370-F199670BD029}"/>
              </a:ext>
            </a:extLst>
          </p:cNvPr>
          <p:cNvSpPr txBox="1"/>
          <p:nvPr/>
        </p:nvSpPr>
        <p:spPr>
          <a:xfrm>
            <a:off x="501652" y="317503"/>
            <a:ext cx="948730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a:ln>
                  <a:noFill/>
                </a:ln>
                <a:solidFill>
                  <a:prstClr val="black"/>
                </a:solidFill>
                <a:effectLst/>
                <a:uLnTx/>
                <a:uFillTx/>
                <a:latin typeface="Chronicle Display Black"/>
                <a:ea typeface="Open Sans" panose="020B0606030504020204" pitchFamily="34" charset="0"/>
                <a:cs typeface="Open Sans" panose="020B0606030504020204" pitchFamily="34" charset="0"/>
              </a:rPr>
              <a:t>Transition Plan Review: Best Practices for Reviewers</a:t>
            </a:r>
            <a:endParaRPr kumimoji="0" lang="en-US" sz="2800" b="1" i="0" u="none" strike="noStrike" kern="1200" cap="none" spc="0" normalizeH="0" baseline="0" noProof="0">
              <a:ln>
                <a:noFill/>
              </a:ln>
              <a:solidFill>
                <a:prstClr val="black"/>
              </a:solidFill>
              <a:effectLst/>
              <a:uLnTx/>
              <a:uFillTx/>
              <a:latin typeface="Chronicle Display Black"/>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9083697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729706F-6BCA-2740-74A5-F4D0B45EEB86}"/>
              </a:ext>
            </a:extLst>
          </p:cNvPr>
          <p:cNvSpPr txBox="1"/>
          <p:nvPr/>
        </p:nvSpPr>
        <p:spPr>
          <a:xfrm>
            <a:off x="326491" y="1211263"/>
            <a:ext cx="10784532" cy="2217738"/>
          </a:xfrm>
          <a:prstGeom prst="rect">
            <a:avLst/>
          </a:prstGeom>
        </p:spPr>
        <p:txBody>
          <a:bodyPr vert="horz" lIns="0" tIns="0" rIns="0" bIns="0" rtlCol="0">
            <a:noAutofit/>
          </a:bodyPr>
          <a:lstStyle/>
          <a:p>
            <a:pPr marL="285750" indent="-285750" defTabSz="1219170">
              <a:spcAft>
                <a:spcPts val="1333"/>
              </a:spcAft>
              <a:buSzPct val="100000"/>
              <a:buFont typeface="Arial" panose="020B0604020202020204" pitchFamily="34" charset="0"/>
              <a:buChar char="•"/>
            </a:pPr>
            <a:r>
              <a:rPr lang="en-US" sz="2000" i="0" u="none" strike="noStrike" baseline="0"/>
              <a:t>Individuals and their teams are involved from the beginning of planning to align their goals and interests to the transition </a:t>
            </a:r>
          </a:p>
          <a:p>
            <a:pPr marL="285750" indent="-285750" defTabSz="1219170">
              <a:spcAft>
                <a:spcPts val="1333"/>
              </a:spcAft>
              <a:buSzPct val="100000"/>
              <a:buFont typeface="Arial" panose="020B0604020202020204" pitchFamily="34" charset="0"/>
              <a:buChar char="•"/>
            </a:pPr>
            <a:r>
              <a:rPr lang="en-US" sz="2000"/>
              <a:t>Individuals have flexibility to try a new setting and transition back according to the below guidelines:</a:t>
            </a:r>
          </a:p>
        </p:txBody>
      </p:sp>
      <p:sp>
        <p:nvSpPr>
          <p:cNvPr id="7" name="TextBox 6">
            <a:extLst>
              <a:ext uri="{FF2B5EF4-FFF2-40B4-BE49-F238E27FC236}">
                <a16:creationId xmlns:a16="http://schemas.microsoft.com/office/drawing/2014/main" id="{4B23F9D0-ECC1-069A-6370-F199670BD029}"/>
              </a:ext>
            </a:extLst>
          </p:cNvPr>
          <p:cNvSpPr txBox="1"/>
          <p:nvPr/>
        </p:nvSpPr>
        <p:spPr>
          <a:xfrm>
            <a:off x="501652" y="317503"/>
            <a:ext cx="948730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a:ln>
                  <a:noFill/>
                </a:ln>
                <a:solidFill>
                  <a:prstClr val="black"/>
                </a:solidFill>
                <a:effectLst/>
                <a:uLnTx/>
                <a:uFillTx/>
                <a:latin typeface="Chronicle Display Black"/>
                <a:ea typeface="Open Sans" panose="020B0606030504020204" pitchFamily="34" charset="0"/>
                <a:cs typeface="Open Sans" panose="020B0606030504020204" pitchFamily="34" charset="0"/>
              </a:rPr>
              <a:t>Transition Safeguards and Person-Centered Planning</a:t>
            </a:r>
            <a:endParaRPr kumimoji="0" lang="en-US" sz="2800" b="1" i="0" u="none" strike="noStrike" kern="1200" cap="none" spc="0" normalizeH="0" baseline="0" noProof="0">
              <a:ln>
                <a:noFill/>
              </a:ln>
              <a:solidFill>
                <a:prstClr val="black"/>
              </a:solidFill>
              <a:effectLst/>
              <a:uLnTx/>
              <a:uFillTx/>
              <a:latin typeface="Chronicle Display Black"/>
              <a:ea typeface="Open Sans" panose="020B0606030504020204" pitchFamily="34" charset="0"/>
              <a:cs typeface="Open Sans" panose="020B0606030504020204" pitchFamily="34" charset="0"/>
            </a:endParaRPr>
          </a:p>
        </p:txBody>
      </p:sp>
      <p:graphicFrame>
        <p:nvGraphicFramePr>
          <p:cNvPr id="2" name="Table 3">
            <a:extLst>
              <a:ext uri="{FF2B5EF4-FFF2-40B4-BE49-F238E27FC236}">
                <a16:creationId xmlns:a16="http://schemas.microsoft.com/office/drawing/2014/main" id="{62998A73-1B10-D2FF-D519-1E03C5ADDD31}"/>
              </a:ext>
            </a:extLst>
          </p:cNvPr>
          <p:cNvGraphicFramePr>
            <a:graphicFrameLocks noGrp="1"/>
          </p:cNvGraphicFramePr>
          <p:nvPr>
            <p:extLst>
              <p:ext uri="{D42A27DB-BD31-4B8C-83A1-F6EECF244321}">
                <p14:modId xmlns:p14="http://schemas.microsoft.com/office/powerpoint/2010/main" val="1799456339"/>
              </p:ext>
            </p:extLst>
          </p:nvPr>
        </p:nvGraphicFramePr>
        <p:xfrm>
          <a:off x="223284" y="2666431"/>
          <a:ext cx="11748976" cy="1676400"/>
        </p:xfrm>
        <a:graphic>
          <a:graphicData uri="http://schemas.openxmlformats.org/drawingml/2006/table">
            <a:tbl>
              <a:tblPr firstRow="1" bandRow="1">
                <a:tableStyleId>{5C22544A-7EE6-4342-B048-85BDC9FD1C3A}</a:tableStyleId>
              </a:tblPr>
              <a:tblGrid>
                <a:gridCol w="2937244">
                  <a:extLst>
                    <a:ext uri="{9D8B030D-6E8A-4147-A177-3AD203B41FA5}">
                      <a16:colId xmlns:a16="http://schemas.microsoft.com/office/drawing/2014/main" val="805578821"/>
                    </a:ext>
                  </a:extLst>
                </a:gridCol>
                <a:gridCol w="2937244">
                  <a:extLst>
                    <a:ext uri="{9D8B030D-6E8A-4147-A177-3AD203B41FA5}">
                      <a16:colId xmlns:a16="http://schemas.microsoft.com/office/drawing/2014/main" val="1857700102"/>
                    </a:ext>
                  </a:extLst>
                </a:gridCol>
                <a:gridCol w="2937244">
                  <a:extLst>
                    <a:ext uri="{9D8B030D-6E8A-4147-A177-3AD203B41FA5}">
                      <a16:colId xmlns:a16="http://schemas.microsoft.com/office/drawing/2014/main" val="2596874419"/>
                    </a:ext>
                  </a:extLst>
                </a:gridCol>
                <a:gridCol w="2937244">
                  <a:extLst>
                    <a:ext uri="{9D8B030D-6E8A-4147-A177-3AD203B41FA5}">
                      <a16:colId xmlns:a16="http://schemas.microsoft.com/office/drawing/2014/main" val="1329538485"/>
                    </a:ext>
                  </a:extLst>
                </a:gridCol>
              </a:tblGrid>
              <a:tr h="0">
                <a:tc>
                  <a:txBody>
                    <a:bodyPr/>
                    <a:lstStyle/>
                    <a:p>
                      <a:pPr algn="ctr"/>
                      <a:r>
                        <a:rPr lang="en-US"/>
                        <a:t>Before 60 Days</a:t>
                      </a:r>
                    </a:p>
                  </a:txBody>
                  <a:tcPr/>
                </a:tc>
                <a:tc>
                  <a:txBody>
                    <a:bodyPr/>
                    <a:lstStyle/>
                    <a:p>
                      <a:pPr algn="ctr"/>
                      <a:r>
                        <a:rPr lang="en-US"/>
                        <a:t>Between 60 and 120 Days</a:t>
                      </a:r>
                    </a:p>
                  </a:txBody>
                  <a:tcPr/>
                </a:tc>
                <a:tc>
                  <a:txBody>
                    <a:bodyPr/>
                    <a:lstStyle/>
                    <a:p>
                      <a:pPr algn="ctr"/>
                      <a:r>
                        <a:rPr lang="en-US"/>
                        <a:t>Between 120 and 365 Days</a:t>
                      </a:r>
                    </a:p>
                  </a:txBody>
                  <a:tcPr/>
                </a:tc>
                <a:tc>
                  <a:txBody>
                    <a:bodyPr/>
                    <a:lstStyle/>
                    <a:p>
                      <a:pPr algn="ctr"/>
                      <a:r>
                        <a:rPr lang="en-US"/>
                        <a:t>After 365 Days</a:t>
                      </a:r>
                    </a:p>
                  </a:txBody>
                  <a:tcPr/>
                </a:tc>
                <a:extLst>
                  <a:ext uri="{0D108BD9-81ED-4DB2-BD59-A6C34878D82A}">
                    <a16:rowId xmlns:a16="http://schemas.microsoft.com/office/drawing/2014/main" val="3186833601"/>
                  </a:ext>
                </a:extLst>
              </a:tr>
              <a:tr h="58188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t>Transition back to their </a:t>
                      </a:r>
                      <a:r>
                        <a:rPr lang="en-US" sz="1600" b="1">
                          <a:solidFill>
                            <a:schemeClr val="accent1"/>
                          </a:solidFill>
                        </a:rPr>
                        <a:t>original</a:t>
                      </a:r>
                      <a:r>
                        <a:rPr lang="en-US" sz="1600"/>
                        <a:t> setting </a:t>
                      </a:r>
                    </a:p>
                  </a:txBody>
                  <a:tcPr anchor="ctr">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t>Transition back to the </a:t>
                      </a:r>
                      <a:r>
                        <a:rPr lang="en-US" sz="1600" b="1">
                          <a:solidFill>
                            <a:schemeClr val="accent1"/>
                          </a:solidFill>
                        </a:rPr>
                        <a:t>same support type</a:t>
                      </a:r>
                      <a:r>
                        <a:rPr lang="en-US" sz="1600"/>
                        <a:t> between 60 and 120 days</a:t>
                      </a:r>
                    </a:p>
                  </a:txBody>
                  <a:tcPr anchor="ctr">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t>Transition to </a:t>
                      </a:r>
                      <a:r>
                        <a:rPr lang="en-US" sz="1600" b="1">
                          <a:solidFill>
                            <a:schemeClr val="accent1"/>
                          </a:solidFill>
                        </a:rPr>
                        <a:t>another setting with funding up to the annual authorized amount </a:t>
                      </a:r>
                      <a:r>
                        <a:rPr lang="en-US" sz="1600"/>
                        <a:t>from the date of the individual’s transition. </a:t>
                      </a:r>
                      <a:endParaRPr lang="en-US" sz="1600" b="1"/>
                    </a:p>
                  </a:txBody>
                  <a:tcPr anchor="ctr">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t>Utilize the </a:t>
                      </a:r>
                      <a:r>
                        <a:rPr lang="en-US" sz="1600" b="1">
                          <a:solidFill>
                            <a:schemeClr val="accent1"/>
                          </a:solidFill>
                        </a:rPr>
                        <a:t>existing PRAT process </a:t>
                      </a:r>
                      <a:r>
                        <a:rPr lang="en-US" sz="1600"/>
                        <a:t>to request setting changes</a:t>
                      </a:r>
                    </a:p>
                  </a:txBody>
                  <a:tcPr anchor="ctr">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17318594"/>
                  </a:ext>
                </a:extLst>
              </a:tr>
            </a:tbl>
          </a:graphicData>
        </a:graphic>
      </p:graphicFrame>
      <p:sp>
        <p:nvSpPr>
          <p:cNvPr id="10" name="TextBox 9">
            <a:extLst>
              <a:ext uri="{FF2B5EF4-FFF2-40B4-BE49-F238E27FC236}">
                <a16:creationId xmlns:a16="http://schemas.microsoft.com/office/drawing/2014/main" id="{E5BEA1A6-F3D4-E53B-77A8-ABBDF288DE35}"/>
              </a:ext>
            </a:extLst>
          </p:cNvPr>
          <p:cNvSpPr txBox="1"/>
          <p:nvPr/>
        </p:nvSpPr>
        <p:spPr>
          <a:xfrm>
            <a:off x="326491" y="4884169"/>
            <a:ext cx="11348058" cy="1384995"/>
          </a:xfrm>
          <a:prstGeom prst="rect">
            <a:avLst/>
          </a:prstGeom>
          <a:solidFill>
            <a:schemeClr val="bg1">
              <a:lumMod val="95000"/>
            </a:schemeClr>
          </a:solidFill>
        </p:spPr>
        <p:txBody>
          <a:bodyPr wrap="square">
            <a:spAutoFit/>
          </a:bodyPr>
          <a:lstStyle/>
          <a:p>
            <a:pPr algn="ctr"/>
            <a:r>
              <a:rPr lang="en-US" sz="2800">
                <a:effectLst/>
                <a:latin typeface="Segoe UI" panose="020B0502040204020203" pitchFamily="34" charset="0"/>
              </a:rPr>
              <a:t>STEP puts the </a:t>
            </a:r>
            <a:r>
              <a:rPr lang="en-US" sz="2800" b="1">
                <a:solidFill>
                  <a:schemeClr val="accent2"/>
                </a:solidFill>
                <a:effectLst/>
                <a:latin typeface="Segoe UI" panose="020B0502040204020203" pitchFamily="34" charset="0"/>
              </a:rPr>
              <a:t>individuals and their needs first. </a:t>
            </a:r>
            <a:r>
              <a:rPr lang="en-US" sz="2800">
                <a:effectLst/>
                <a:latin typeface="Segoe UI" panose="020B0502040204020203" pitchFamily="34" charset="0"/>
              </a:rPr>
              <a:t>No one will be obligated to transition to a new setting or remain in a support that doesn’t fit their goals and needs.</a:t>
            </a:r>
            <a:endParaRPr lang="en-US" sz="3200">
              <a:effectLst/>
              <a:latin typeface="Arial" panose="020B0604020202020204" pitchFamily="34" charset="0"/>
            </a:endParaRPr>
          </a:p>
        </p:txBody>
      </p:sp>
    </p:spTree>
    <p:extLst>
      <p:ext uri="{BB962C8B-B14F-4D97-AF65-F5344CB8AC3E}">
        <p14:creationId xmlns:p14="http://schemas.microsoft.com/office/powerpoint/2010/main" val="328812857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0272FB6-DC83-49E8-83B0-ABAE93C962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95576" y="200175"/>
            <a:ext cx="764009" cy="1011099"/>
          </a:xfrm>
          <a:prstGeom prst="rect">
            <a:avLst/>
          </a:prstGeom>
        </p:spPr>
      </p:pic>
      <p:pic>
        <p:nvPicPr>
          <p:cNvPr id="4" name="Picture 2" descr="CT Department of Developmental Disabilities | LinkedIn">
            <a:extLst>
              <a:ext uri="{FF2B5EF4-FFF2-40B4-BE49-F238E27FC236}">
                <a16:creationId xmlns:a16="http://schemas.microsoft.com/office/drawing/2014/main" id="{5517EC61-3D94-4854-8951-6FCEDAB51E4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6295" y="200175"/>
            <a:ext cx="764009" cy="24440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35BC91F4-2E40-4374-98E4-04D6CFB0D7C5}"/>
              </a:ext>
            </a:extLst>
          </p:cNvPr>
          <p:cNvSpPr/>
          <p:nvPr/>
        </p:nvSpPr>
        <p:spPr>
          <a:xfrm>
            <a:off x="0" y="3150703"/>
            <a:ext cx="9422296" cy="904461"/>
          </a:xfrm>
          <a:prstGeom prst="rect">
            <a:avLst/>
          </a:prstGeom>
          <a:noFill/>
          <a:ln w="28575">
            <a:solidFill>
              <a:srgbClr val="E03C3A"/>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4800">
                <a:solidFill>
                  <a:schemeClr val="tx1"/>
                </a:solidFill>
              </a:rPr>
              <a:t>  Q&amp;A</a:t>
            </a:r>
          </a:p>
        </p:txBody>
      </p:sp>
      <p:sp>
        <p:nvSpPr>
          <p:cNvPr id="6" name="Rectangle 5">
            <a:extLst>
              <a:ext uri="{FF2B5EF4-FFF2-40B4-BE49-F238E27FC236}">
                <a16:creationId xmlns:a16="http://schemas.microsoft.com/office/drawing/2014/main" id="{907CD1EF-DCD2-48D7-AD53-907055C7D114}"/>
              </a:ext>
            </a:extLst>
          </p:cNvPr>
          <p:cNvSpPr/>
          <p:nvPr/>
        </p:nvSpPr>
        <p:spPr>
          <a:xfrm>
            <a:off x="6800849" y="3150703"/>
            <a:ext cx="2621447" cy="904461"/>
          </a:xfrm>
          <a:prstGeom prst="rect">
            <a:avLst/>
          </a:prstGeom>
          <a:solidFill>
            <a:srgbClr val="E03C3A"/>
          </a:solidFill>
          <a:ln w="28575">
            <a:solidFill>
              <a:srgbClr val="E03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6000">
              <a:solidFill>
                <a:schemeClr val="tx1"/>
              </a:solidFill>
            </a:endParaRPr>
          </a:p>
        </p:txBody>
      </p:sp>
      <p:cxnSp>
        <p:nvCxnSpPr>
          <p:cNvPr id="8" name="Straight Connector 7">
            <a:extLst>
              <a:ext uri="{FF2B5EF4-FFF2-40B4-BE49-F238E27FC236}">
                <a16:creationId xmlns:a16="http://schemas.microsoft.com/office/drawing/2014/main" id="{EA62C180-5CC1-4241-80F4-48F511C1CAEC}"/>
              </a:ext>
            </a:extLst>
          </p:cNvPr>
          <p:cNvCxnSpPr>
            <a:cxnSpLocks/>
          </p:cNvCxnSpPr>
          <p:nvPr/>
        </p:nvCxnSpPr>
        <p:spPr>
          <a:xfrm>
            <a:off x="397566" y="4353339"/>
            <a:ext cx="3856383" cy="0"/>
          </a:xfrm>
          <a:prstGeom prst="line">
            <a:avLst/>
          </a:prstGeom>
          <a:ln w="19050">
            <a:solidFill>
              <a:srgbClr val="E03C3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25610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D286D45-BE18-3358-12DA-42E27FE7FE94}"/>
              </a:ext>
            </a:extLst>
          </p:cNvPr>
          <p:cNvSpPr txBox="1"/>
          <p:nvPr/>
        </p:nvSpPr>
        <p:spPr>
          <a:xfrm>
            <a:off x="501652" y="317503"/>
            <a:ext cx="6015212"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600" b="1"/>
              <a:t>Resources</a:t>
            </a:r>
            <a:endParaRPr lang="en-US"/>
          </a:p>
        </p:txBody>
      </p:sp>
      <p:pic>
        <p:nvPicPr>
          <p:cNvPr id="4" name="Picture 3" descr="A screenshot of a computer&#10;&#10;Description automatically generated with medium confidence">
            <a:extLst>
              <a:ext uri="{FF2B5EF4-FFF2-40B4-BE49-F238E27FC236}">
                <a16:creationId xmlns:a16="http://schemas.microsoft.com/office/drawing/2014/main" id="{4D765EDB-69AB-9DBD-1111-9893C67A0AFA}"/>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64966" y="2740320"/>
            <a:ext cx="4937760" cy="2463119"/>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06776CE1-121E-2F51-BD1E-2D8668B5EB7A}"/>
              </a:ext>
            </a:extLst>
          </p:cNvPr>
          <p:cNvSpPr txBox="1"/>
          <p:nvPr/>
        </p:nvSpPr>
        <p:spPr>
          <a:xfrm>
            <a:off x="855075" y="1485218"/>
            <a:ext cx="4984307" cy="646331"/>
          </a:xfrm>
          <a:prstGeom prst="rect">
            <a:avLst/>
          </a:prstGeom>
          <a:noFill/>
        </p:spPr>
        <p:txBody>
          <a:bodyPr wrap="square" rtlCol="0">
            <a:spAutoFit/>
          </a:bodyPr>
          <a:lstStyle/>
          <a:p>
            <a:pPr algn="ctr"/>
            <a:r>
              <a:rPr lang="en-US"/>
              <a:t>Looking for more information about STEP? Check out the new STEP Resources page</a:t>
            </a:r>
          </a:p>
        </p:txBody>
      </p:sp>
      <p:sp>
        <p:nvSpPr>
          <p:cNvPr id="5" name="TextBox 4">
            <a:extLst>
              <a:ext uri="{FF2B5EF4-FFF2-40B4-BE49-F238E27FC236}">
                <a16:creationId xmlns:a16="http://schemas.microsoft.com/office/drawing/2014/main" id="{43E139E1-FA84-F3DF-205D-3632D4B70408}"/>
              </a:ext>
            </a:extLst>
          </p:cNvPr>
          <p:cNvSpPr txBox="1"/>
          <p:nvPr/>
        </p:nvSpPr>
        <p:spPr>
          <a:xfrm>
            <a:off x="6540197" y="1434093"/>
            <a:ext cx="5100337" cy="923330"/>
          </a:xfrm>
          <a:prstGeom prst="rect">
            <a:avLst/>
          </a:prstGeom>
          <a:noFill/>
        </p:spPr>
        <p:txBody>
          <a:bodyPr wrap="square">
            <a:spAutoFit/>
          </a:bodyPr>
          <a:lstStyle/>
          <a:p>
            <a:pPr algn="ctr"/>
            <a:r>
              <a:rPr lang="en-US"/>
              <a:t>Looking for information about STEP to share with individuals and their families? Check out the new public STEP Page</a:t>
            </a:r>
            <a:endParaRPr lang="en-US" sz="1800" b="1">
              <a:effectLst/>
              <a:latin typeface="Calibri" panose="020F0502020204030204" pitchFamily="34" charset="0"/>
              <a:ea typeface="Calibri" panose="020F0502020204030204" pitchFamily="34" charset="0"/>
            </a:endParaRPr>
          </a:p>
        </p:txBody>
      </p:sp>
      <p:pic>
        <p:nvPicPr>
          <p:cNvPr id="9" name="Picture 8">
            <a:extLst>
              <a:ext uri="{FF2B5EF4-FFF2-40B4-BE49-F238E27FC236}">
                <a16:creationId xmlns:a16="http://schemas.microsoft.com/office/drawing/2014/main" id="{CCCFAA5B-4002-043F-0E2D-1444ABDFD0C9}"/>
              </a:ext>
            </a:extLst>
          </p:cNvPr>
          <p:cNvPicPr>
            <a:picLocks noChangeAspect="1"/>
          </p:cNvPicPr>
          <p:nvPr/>
        </p:nvPicPr>
        <p:blipFill rotWithShape="1">
          <a:blip r:embed="rId4"/>
          <a:srcRect b="7655"/>
          <a:stretch/>
        </p:blipFill>
        <p:spPr>
          <a:xfrm>
            <a:off x="6621485" y="2755098"/>
            <a:ext cx="4937760" cy="2448341"/>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11" name="TextBox 10">
            <a:extLst>
              <a:ext uri="{FF2B5EF4-FFF2-40B4-BE49-F238E27FC236}">
                <a16:creationId xmlns:a16="http://schemas.microsoft.com/office/drawing/2014/main" id="{16188E4B-94CE-4BA4-07D1-157BDA2677C7}"/>
              </a:ext>
            </a:extLst>
          </p:cNvPr>
          <p:cNvSpPr txBox="1"/>
          <p:nvPr/>
        </p:nvSpPr>
        <p:spPr>
          <a:xfrm>
            <a:off x="1825052" y="5598138"/>
            <a:ext cx="3368412" cy="369332"/>
          </a:xfrm>
          <a:prstGeom prst="rect">
            <a:avLst/>
          </a:prstGeom>
          <a:noFill/>
        </p:spPr>
        <p:txBody>
          <a:bodyPr wrap="square">
            <a:spAutoFit/>
          </a:bodyPr>
          <a:lstStyle/>
          <a:p>
            <a:r>
              <a:rPr lang="en-US"/>
              <a:t> on </a:t>
            </a:r>
            <a:r>
              <a:rPr lang="en-US" b="1" i="1">
                <a:hlinkClick r:id="rId5"/>
              </a:rPr>
              <a:t>Inside DDS</a:t>
            </a:r>
            <a:r>
              <a:rPr lang="en-US" b="1"/>
              <a:t> (DDS Intranet)</a:t>
            </a:r>
            <a:r>
              <a:rPr lang="en-US"/>
              <a:t> </a:t>
            </a:r>
          </a:p>
        </p:txBody>
      </p:sp>
      <p:sp>
        <p:nvSpPr>
          <p:cNvPr id="13" name="TextBox 12">
            <a:extLst>
              <a:ext uri="{FF2B5EF4-FFF2-40B4-BE49-F238E27FC236}">
                <a16:creationId xmlns:a16="http://schemas.microsoft.com/office/drawing/2014/main" id="{684E904E-2B68-03B2-29AE-324D15B4450F}"/>
              </a:ext>
            </a:extLst>
          </p:cNvPr>
          <p:cNvSpPr txBox="1"/>
          <p:nvPr/>
        </p:nvSpPr>
        <p:spPr>
          <a:xfrm>
            <a:off x="6131382" y="5561151"/>
            <a:ext cx="2522443" cy="369332"/>
          </a:xfrm>
          <a:prstGeom prst="rect">
            <a:avLst/>
          </a:prstGeom>
          <a:noFill/>
        </p:spPr>
        <p:txBody>
          <a:bodyPr wrap="square">
            <a:spAutoFit/>
          </a:bodyPr>
          <a:lstStyle/>
          <a:p>
            <a:pPr algn="ctr"/>
            <a:r>
              <a:rPr lang="en-US"/>
              <a:t>on </a:t>
            </a:r>
            <a:r>
              <a:rPr lang="en-US" sz="1800" b="1" u="sng">
                <a:solidFill>
                  <a:srgbClr val="0563C1"/>
                </a:solidFill>
                <a:effectLst/>
                <a:latin typeface="Calibri" panose="020F0502020204030204" pitchFamily="34" charset="0"/>
                <a:ea typeface="Calibri" panose="020F0502020204030204" pitchFamily="34" charset="0"/>
                <a:hlinkClick r:id="rId6"/>
              </a:rPr>
              <a:t>www.ct.gov/step</a:t>
            </a:r>
            <a:endParaRPr lang="en-US"/>
          </a:p>
        </p:txBody>
      </p:sp>
      <p:sp>
        <p:nvSpPr>
          <p:cNvPr id="17" name="Rectangle 16">
            <a:extLst>
              <a:ext uri="{FF2B5EF4-FFF2-40B4-BE49-F238E27FC236}">
                <a16:creationId xmlns:a16="http://schemas.microsoft.com/office/drawing/2014/main" id="{D4678337-1993-A2A3-3FE5-B1C809A71540}"/>
              </a:ext>
            </a:extLst>
          </p:cNvPr>
          <p:cNvSpPr/>
          <p:nvPr/>
        </p:nvSpPr>
        <p:spPr>
          <a:xfrm>
            <a:off x="575660" y="2394332"/>
            <a:ext cx="11064874" cy="1285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99864CCE-7240-CE51-F996-405BF87F4164}"/>
              </a:ext>
            </a:extLst>
          </p:cNvPr>
          <p:cNvSpPr/>
          <p:nvPr/>
        </p:nvSpPr>
        <p:spPr>
          <a:xfrm rot="5400000">
            <a:off x="3787063" y="3547250"/>
            <a:ext cx="4739594" cy="1637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398766F-D461-A18C-A918-13490B0CFD62}"/>
              </a:ext>
            </a:extLst>
          </p:cNvPr>
          <p:cNvSpPr/>
          <p:nvPr/>
        </p:nvSpPr>
        <p:spPr>
          <a:xfrm>
            <a:off x="575660" y="1259346"/>
            <a:ext cx="11064874" cy="113230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631746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0272FB6-DC83-49E8-83B0-ABAE93C962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95576" y="200175"/>
            <a:ext cx="764009" cy="1011099"/>
          </a:xfrm>
          <a:prstGeom prst="rect">
            <a:avLst/>
          </a:prstGeom>
        </p:spPr>
      </p:pic>
      <p:pic>
        <p:nvPicPr>
          <p:cNvPr id="4" name="Picture 2" descr="CT Department of Developmental Disabilities | LinkedIn">
            <a:extLst>
              <a:ext uri="{FF2B5EF4-FFF2-40B4-BE49-F238E27FC236}">
                <a16:creationId xmlns:a16="http://schemas.microsoft.com/office/drawing/2014/main" id="{5517EC61-3D94-4854-8951-6FCEDAB51E4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6295" y="200175"/>
            <a:ext cx="764009" cy="24440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35BC91F4-2E40-4374-98E4-04D6CFB0D7C5}"/>
              </a:ext>
            </a:extLst>
          </p:cNvPr>
          <p:cNvSpPr/>
          <p:nvPr/>
        </p:nvSpPr>
        <p:spPr>
          <a:xfrm>
            <a:off x="0" y="3150703"/>
            <a:ext cx="9422296" cy="904461"/>
          </a:xfrm>
          <a:prstGeom prst="rect">
            <a:avLst/>
          </a:prstGeom>
          <a:noFill/>
          <a:ln w="28575">
            <a:solidFill>
              <a:srgbClr val="E03C3A"/>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4800">
                <a:solidFill>
                  <a:schemeClr val="tx1"/>
                </a:solidFill>
              </a:rPr>
              <a:t>  Closing and Thank You</a:t>
            </a:r>
          </a:p>
        </p:txBody>
      </p:sp>
      <p:sp>
        <p:nvSpPr>
          <p:cNvPr id="6" name="Rectangle 5">
            <a:extLst>
              <a:ext uri="{FF2B5EF4-FFF2-40B4-BE49-F238E27FC236}">
                <a16:creationId xmlns:a16="http://schemas.microsoft.com/office/drawing/2014/main" id="{907CD1EF-DCD2-48D7-AD53-907055C7D114}"/>
              </a:ext>
            </a:extLst>
          </p:cNvPr>
          <p:cNvSpPr/>
          <p:nvPr/>
        </p:nvSpPr>
        <p:spPr>
          <a:xfrm>
            <a:off x="7227736" y="3150702"/>
            <a:ext cx="2194560" cy="904461"/>
          </a:xfrm>
          <a:prstGeom prst="rect">
            <a:avLst/>
          </a:prstGeom>
          <a:solidFill>
            <a:srgbClr val="E03C3A"/>
          </a:solidFill>
          <a:ln w="28575">
            <a:solidFill>
              <a:srgbClr val="E03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6000">
              <a:solidFill>
                <a:schemeClr val="tx1"/>
              </a:solidFill>
            </a:endParaRPr>
          </a:p>
        </p:txBody>
      </p:sp>
      <p:cxnSp>
        <p:nvCxnSpPr>
          <p:cNvPr id="8" name="Straight Connector 7">
            <a:extLst>
              <a:ext uri="{FF2B5EF4-FFF2-40B4-BE49-F238E27FC236}">
                <a16:creationId xmlns:a16="http://schemas.microsoft.com/office/drawing/2014/main" id="{EA62C180-5CC1-4241-80F4-48F511C1CAEC}"/>
              </a:ext>
            </a:extLst>
          </p:cNvPr>
          <p:cNvCxnSpPr>
            <a:cxnSpLocks/>
          </p:cNvCxnSpPr>
          <p:nvPr/>
        </p:nvCxnSpPr>
        <p:spPr>
          <a:xfrm>
            <a:off x="397566" y="4353339"/>
            <a:ext cx="3856383" cy="0"/>
          </a:xfrm>
          <a:prstGeom prst="line">
            <a:avLst/>
          </a:prstGeom>
          <a:ln w="19050">
            <a:solidFill>
              <a:srgbClr val="E03C3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14421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6AEF044-C673-48C6-19D5-1D6DA0C8919A}"/>
              </a:ext>
            </a:extLst>
          </p:cNvPr>
          <p:cNvSpPr/>
          <p:nvPr/>
        </p:nvSpPr>
        <p:spPr>
          <a:xfrm>
            <a:off x="0" y="8125"/>
            <a:ext cx="3703779" cy="6838951"/>
          </a:xfrm>
          <a:prstGeom prst="rect">
            <a:avLst/>
          </a:pr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707B3F3F-B8EC-430E-83F1-DE4D32DAAF4D}"/>
              </a:ext>
            </a:extLst>
          </p:cNvPr>
          <p:cNvSpPr txBox="1"/>
          <p:nvPr/>
        </p:nvSpPr>
        <p:spPr>
          <a:xfrm>
            <a:off x="278548" y="1071572"/>
            <a:ext cx="3293327" cy="3139321"/>
          </a:xfrm>
          <a:prstGeom prst="rect">
            <a:avLst/>
          </a:prstGeom>
          <a:noFill/>
        </p:spPr>
        <p:txBody>
          <a:bodyPr wrap="square" lIns="91440" tIns="45720" rIns="91440" bIns="45720" rtlCol="0" anchor="t">
            <a:spAutoFit/>
          </a:bodyPr>
          <a:lstStyle/>
          <a:p>
            <a:pPr defTabSz="868680">
              <a:spcAft>
                <a:spcPts val="1200"/>
              </a:spcAft>
            </a:pPr>
            <a:r>
              <a:rPr lang="en-US" sz="2800" b="1" kern="1200">
                <a:latin typeface="+mn-lt"/>
                <a:ea typeface="+mn-ea"/>
                <a:cs typeface="+mn-cs"/>
              </a:rPr>
              <a:t>Agenda</a:t>
            </a:r>
          </a:p>
          <a:p>
            <a:pPr marL="457200" indent="-457200" defTabSz="868680">
              <a:buFont typeface="Arial" panose="020B0604020202020204" pitchFamily="34" charset="0"/>
              <a:buChar char="•"/>
            </a:pPr>
            <a:r>
              <a:rPr lang="en-US" sz="2000"/>
              <a:t>Opening remarks</a:t>
            </a:r>
            <a:endParaRPr lang="en-US" sz="2000" kern="1200">
              <a:latin typeface="+mn-lt"/>
              <a:ea typeface="Calibri"/>
              <a:cs typeface="Calibri"/>
            </a:endParaRPr>
          </a:p>
          <a:p>
            <a:pPr marL="457200" indent="-457200" defTabSz="868680">
              <a:buFont typeface="Arial" panose="020B0604020202020204" pitchFamily="34" charset="0"/>
              <a:buChar char="•"/>
            </a:pPr>
            <a:r>
              <a:rPr lang="en-US" sz="2000"/>
              <a:t>Plan development process</a:t>
            </a:r>
            <a:endParaRPr lang="en-US" sz="2000">
              <a:ea typeface="Calibri"/>
              <a:cs typeface="Calibri"/>
            </a:endParaRPr>
          </a:p>
          <a:p>
            <a:pPr marL="434340" indent="-457200" defTabSz="868680">
              <a:buFont typeface="Arial" panose="020B0604020202020204" pitchFamily="34" charset="0"/>
              <a:buChar char="•"/>
            </a:pPr>
            <a:r>
              <a:rPr lang="en-US" sz="2000">
                <a:cs typeface="Calibri"/>
              </a:rPr>
              <a:t>Review &amp; approval process</a:t>
            </a:r>
          </a:p>
          <a:p>
            <a:pPr marL="434340" indent="-457200" defTabSz="868680">
              <a:buFont typeface="Arial" panose="020B0604020202020204" pitchFamily="34" charset="0"/>
              <a:buChar char="•"/>
            </a:pPr>
            <a:r>
              <a:rPr lang="en-US" sz="2000">
                <a:ea typeface="Calibri"/>
                <a:cs typeface="Calibri"/>
              </a:rPr>
              <a:t>Live template review</a:t>
            </a:r>
          </a:p>
          <a:p>
            <a:pPr marL="457200" indent="-457200" defTabSz="868680">
              <a:buFont typeface="Arial" panose="020B0604020202020204" pitchFamily="34" charset="0"/>
              <a:buChar char="•"/>
            </a:pPr>
            <a:r>
              <a:rPr lang="en-US" sz="2000">
                <a:cs typeface="Calibri"/>
              </a:rPr>
              <a:t>Q&amp;A and closing</a:t>
            </a:r>
            <a:endParaRPr lang="en-US" sz="2000">
              <a:ea typeface="Calibri"/>
              <a:cs typeface="Calibri"/>
            </a:endParaRPr>
          </a:p>
          <a:p>
            <a:pPr indent="-457200" defTabSz="868680">
              <a:spcAft>
                <a:spcPts val="1800"/>
              </a:spcAft>
              <a:buAutoNum type="arabicPeriod"/>
            </a:pPr>
            <a:endParaRPr lang="en-US" sz="2000">
              <a:ea typeface="Calibri"/>
              <a:cs typeface="Calibri"/>
            </a:endParaRPr>
          </a:p>
        </p:txBody>
      </p:sp>
      <p:pic>
        <p:nvPicPr>
          <p:cNvPr id="4" name="Picture 3" descr="A person and person sitting on a couch&#10;&#10;Description automatically generated">
            <a:extLst>
              <a:ext uri="{FF2B5EF4-FFF2-40B4-BE49-F238E27FC236}">
                <a16:creationId xmlns:a16="http://schemas.microsoft.com/office/drawing/2014/main" id="{64A432E5-A8D7-84D3-3822-CEA4BE0B2D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3779" y="2153"/>
            <a:ext cx="8492254" cy="6850896"/>
          </a:xfrm>
          <a:prstGeom prst="rect">
            <a:avLst/>
          </a:prstGeom>
        </p:spPr>
      </p:pic>
    </p:spTree>
    <p:extLst>
      <p:ext uri="{BB962C8B-B14F-4D97-AF65-F5344CB8AC3E}">
        <p14:creationId xmlns:p14="http://schemas.microsoft.com/office/powerpoint/2010/main" val="6554521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5923B29-5F24-2DFD-C6A3-FAF4DFBB29B8}"/>
              </a:ext>
            </a:extLst>
          </p:cNvPr>
          <p:cNvGrpSpPr/>
          <p:nvPr/>
        </p:nvGrpSpPr>
        <p:grpSpPr>
          <a:xfrm>
            <a:off x="1634254" y="1904207"/>
            <a:ext cx="9061704" cy="640080"/>
            <a:chOff x="916688" y="1652782"/>
            <a:chExt cx="10515601" cy="915310"/>
          </a:xfrm>
        </p:grpSpPr>
        <p:sp>
          <p:nvSpPr>
            <p:cNvPr id="5" name="Rectangle: Rounded Corners 4">
              <a:extLst>
                <a:ext uri="{FF2B5EF4-FFF2-40B4-BE49-F238E27FC236}">
                  <a16:creationId xmlns:a16="http://schemas.microsoft.com/office/drawing/2014/main" id="{387FBB97-2BF4-C5B2-302B-2A107DB87C67}"/>
                </a:ext>
              </a:extLst>
            </p:cNvPr>
            <p:cNvSpPr/>
            <p:nvPr/>
          </p:nvSpPr>
          <p:spPr>
            <a:xfrm>
              <a:off x="916689" y="1652782"/>
              <a:ext cx="10515600" cy="915310"/>
            </a:xfrm>
            <a:prstGeom prst="roundRect">
              <a:avLst>
                <a:gd name="adj" fmla="val 10000"/>
              </a:avLst>
            </a:prstGeom>
            <a:solidFill>
              <a:srgbClr val="8F9FDC">
                <a:alpha val="89804"/>
              </a:srgb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Freeform: Shape 6">
              <a:extLst>
                <a:ext uri="{FF2B5EF4-FFF2-40B4-BE49-F238E27FC236}">
                  <a16:creationId xmlns:a16="http://schemas.microsoft.com/office/drawing/2014/main" id="{23F46189-4EE8-AC84-B6D6-EA8C11678F15}"/>
                </a:ext>
              </a:extLst>
            </p:cNvPr>
            <p:cNvSpPr/>
            <p:nvPr/>
          </p:nvSpPr>
          <p:spPr>
            <a:xfrm>
              <a:off x="916688" y="1652782"/>
              <a:ext cx="10515600" cy="915310"/>
            </a:xfrm>
            <a:custGeom>
              <a:avLst/>
              <a:gdLst>
                <a:gd name="connsiteX0" fmla="*/ 0 w 9458416"/>
                <a:gd name="connsiteY0" fmla="*/ 0 h 915310"/>
                <a:gd name="connsiteX1" fmla="*/ 9458416 w 9458416"/>
                <a:gd name="connsiteY1" fmla="*/ 0 h 915310"/>
                <a:gd name="connsiteX2" fmla="*/ 9458416 w 9458416"/>
                <a:gd name="connsiteY2" fmla="*/ 915310 h 915310"/>
                <a:gd name="connsiteX3" fmla="*/ 0 w 9458416"/>
                <a:gd name="connsiteY3" fmla="*/ 915310 h 915310"/>
                <a:gd name="connsiteX4" fmla="*/ 0 w 9458416"/>
                <a:gd name="connsiteY4" fmla="*/ 0 h 915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8416" h="915310">
                  <a:moveTo>
                    <a:pt x="0" y="0"/>
                  </a:moveTo>
                  <a:lnTo>
                    <a:pt x="9458416" y="0"/>
                  </a:lnTo>
                  <a:lnTo>
                    <a:pt x="9458416" y="915310"/>
                  </a:lnTo>
                  <a:lnTo>
                    <a:pt x="0" y="9153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6870" tIns="96870" rIns="96870" bIns="96870" numCol="1" spcCol="1270" anchor="ctr" anchorCtr="0">
              <a:noAutofit/>
            </a:bodyPr>
            <a:lstStyle/>
            <a:p>
              <a:pPr marL="0" lvl="0" indent="0" algn="l" defTabSz="977900">
                <a:lnSpc>
                  <a:spcPct val="100000"/>
                </a:lnSpc>
                <a:spcBef>
                  <a:spcPct val="0"/>
                </a:spcBef>
                <a:spcAft>
                  <a:spcPct val="35000"/>
                </a:spcAft>
                <a:buNone/>
              </a:pPr>
              <a:r>
                <a:rPr lang="en-US" kern="1200">
                  <a:solidFill>
                    <a:schemeClr val="tx1"/>
                  </a:solidFill>
                </a:rPr>
                <a:t>Understand the STEP Transition Plan development and review process, and your role.</a:t>
              </a:r>
            </a:p>
          </p:txBody>
        </p:sp>
      </p:grpSp>
      <p:grpSp>
        <p:nvGrpSpPr>
          <p:cNvPr id="18" name="Group 17">
            <a:extLst>
              <a:ext uri="{FF2B5EF4-FFF2-40B4-BE49-F238E27FC236}">
                <a16:creationId xmlns:a16="http://schemas.microsoft.com/office/drawing/2014/main" id="{9C5EF8FC-21E6-3450-D37B-694DA1E0FE0B}"/>
              </a:ext>
            </a:extLst>
          </p:cNvPr>
          <p:cNvGrpSpPr/>
          <p:nvPr/>
        </p:nvGrpSpPr>
        <p:grpSpPr>
          <a:xfrm>
            <a:off x="1634254" y="3089460"/>
            <a:ext cx="9061704" cy="640080"/>
            <a:chOff x="916687" y="2796921"/>
            <a:chExt cx="10515602" cy="915310"/>
          </a:xfrm>
          <a:solidFill>
            <a:srgbClr val="9AA9DF"/>
          </a:solidFill>
        </p:grpSpPr>
        <p:sp>
          <p:nvSpPr>
            <p:cNvPr id="8" name="Rectangle: Rounded Corners 7">
              <a:extLst>
                <a:ext uri="{FF2B5EF4-FFF2-40B4-BE49-F238E27FC236}">
                  <a16:creationId xmlns:a16="http://schemas.microsoft.com/office/drawing/2014/main" id="{4124289E-279E-73D1-D81B-F928FC7693C5}"/>
                </a:ext>
              </a:extLst>
            </p:cNvPr>
            <p:cNvSpPr/>
            <p:nvPr/>
          </p:nvSpPr>
          <p:spPr>
            <a:xfrm>
              <a:off x="916689" y="2796921"/>
              <a:ext cx="10515600" cy="915310"/>
            </a:xfrm>
            <a:prstGeom prst="roundRect">
              <a:avLst>
                <a:gd name="adj" fmla="val 10000"/>
              </a:avLst>
            </a:prstGeom>
            <a:grp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 name="Freeform: Shape 9">
              <a:extLst>
                <a:ext uri="{FF2B5EF4-FFF2-40B4-BE49-F238E27FC236}">
                  <a16:creationId xmlns:a16="http://schemas.microsoft.com/office/drawing/2014/main" id="{D65BE665-8149-F656-0F80-97320CB7FA5D}"/>
                </a:ext>
              </a:extLst>
            </p:cNvPr>
            <p:cNvSpPr/>
            <p:nvPr/>
          </p:nvSpPr>
          <p:spPr>
            <a:xfrm>
              <a:off x="916687" y="2796921"/>
              <a:ext cx="10515601" cy="915310"/>
            </a:xfrm>
            <a:custGeom>
              <a:avLst/>
              <a:gdLst>
                <a:gd name="connsiteX0" fmla="*/ 0 w 9458416"/>
                <a:gd name="connsiteY0" fmla="*/ 0 h 915310"/>
                <a:gd name="connsiteX1" fmla="*/ 9458416 w 9458416"/>
                <a:gd name="connsiteY1" fmla="*/ 0 h 915310"/>
                <a:gd name="connsiteX2" fmla="*/ 9458416 w 9458416"/>
                <a:gd name="connsiteY2" fmla="*/ 915310 h 915310"/>
                <a:gd name="connsiteX3" fmla="*/ 0 w 9458416"/>
                <a:gd name="connsiteY3" fmla="*/ 915310 h 915310"/>
                <a:gd name="connsiteX4" fmla="*/ 0 w 9458416"/>
                <a:gd name="connsiteY4" fmla="*/ 0 h 915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8416" h="915310">
                  <a:moveTo>
                    <a:pt x="0" y="0"/>
                  </a:moveTo>
                  <a:lnTo>
                    <a:pt x="9458416" y="0"/>
                  </a:lnTo>
                  <a:lnTo>
                    <a:pt x="9458416" y="915310"/>
                  </a:lnTo>
                  <a:lnTo>
                    <a:pt x="0" y="915310"/>
                  </a:lnTo>
                  <a:lnTo>
                    <a:pt x="0" y="0"/>
                  </a:lnTo>
                  <a:close/>
                </a:path>
              </a:pathLst>
            </a:custGeom>
            <a:grp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6870" tIns="96870" rIns="96870" bIns="96870" numCol="1" spcCol="1270" anchor="ctr" anchorCtr="0">
              <a:noAutofit/>
            </a:bodyPr>
            <a:lstStyle/>
            <a:p>
              <a:pPr marL="0" lvl="0" indent="0" algn="l" defTabSz="977900">
                <a:lnSpc>
                  <a:spcPct val="100000"/>
                </a:lnSpc>
                <a:spcBef>
                  <a:spcPct val="0"/>
                </a:spcBef>
                <a:spcAft>
                  <a:spcPct val="35000"/>
                </a:spcAft>
                <a:buNone/>
              </a:pPr>
              <a:r>
                <a:rPr lang="en-US" kern="1200">
                  <a:solidFill>
                    <a:schemeClr val="tx1"/>
                  </a:solidFill>
                  <a:cs typeface="Arial"/>
                </a:rPr>
                <a:t>Share best practices for reviewing plans and assessing submissions.</a:t>
              </a:r>
            </a:p>
          </p:txBody>
        </p:sp>
      </p:grpSp>
      <p:grpSp>
        <p:nvGrpSpPr>
          <p:cNvPr id="17" name="Group 16">
            <a:extLst>
              <a:ext uri="{FF2B5EF4-FFF2-40B4-BE49-F238E27FC236}">
                <a16:creationId xmlns:a16="http://schemas.microsoft.com/office/drawing/2014/main" id="{02C05611-BB31-940E-DB5C-9B85BDCA88A1}"/>
              </a:ext>
            </a:extLst>
          </p:cNvPr>
          <p:cNvGrpSpPr/>
          <p:nvPr/>
        </p:nvGrpSpPr>
        <p:grpSpPr>
          <a:xfrm>
            <a:off x="1634254" y="4329666"/>
            <a:ext cx="9061704" cy="640080"/>
            <a:chOff x="916687" y="3941059"/>
            <a:chExt cx="10515602" cy="915310"/>
          </a:xfrm>
          <a:solidFill>
            <a:srgbClr val="9AA9DF"/>
          </a:solidFill>
        </p:grpSpPr>
        <p:sp>
          <p:nvSpPr>
            <p:cNvPr id="11" name="Rectangle: Rounded Corners 10">
              <a:extLst>
                <a:ext uri="{FF2B5EF4-FFF2-40B4-BE49-F238E27FC236}">
                  <a16:creationId xmlns:a16="http://schemas.microsoft.com/office/drawing/2014/main" id="{5C301787-A0BA-3C1C-A6D3-43C3F62A9CDD}"/>
                </a:ext>
              </a:extLst>
            </p:cNvPr>
            <p:cNvSpPr/>
            <p:nvPr/>
          </p:nvSpPr>
          <p:spPr>
            <a:xfrm>
              <a:off x="916689" y="3941059"/>
              <a:ext cx="10515600" cy="915310"/>
            </a:xfrm>
            <a:prstGeom prst="roundRect">
              <a:avLst>
                <a:gd name="adj" fmla="val 10000"/>
              </a:avLst>
            </a:prstGeom>
            <a:grp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 name="Freeform: Shape 12">
              <a:extLst>
                <a:ext uri="{FF2B5EF4-FFF2-40B4-BE49-F238E27FC236}">
                  <a16:creationId xmlns:a16="http://schemas.microsoft.com/office/drawing/2014/main" id="{3644E5D7-E461-18FE-B5A7-67EF395F3776}"/>
                </a:ext>
              </a:extLst>
            </p:cNvPr>
            <p:cNvSpPr/>
            <p:nvPr/>
          </p:nvSpPr>
          <p:spPr>
            <a:xfrm>
              <a:off x="916687" y="3941059"/>
              <a:ext cx="10515601" cy="915310"/>
            </a:xfrm>
            <a:custGeom>
              <a:avLst/>
              <a:gdLst>
                <a:gd name="connsiteX0" fmla="*/ 0 w 9458416"/>
                <a:gd name="connsiteY0" fmla="*/ 0 h 915310"/>
                <a:gd name="connsiteX1" fmla="*/ 9458416 w 9458416"/>
                <a:gd name="connsiteY1" fmla="*/ 0 h 915310"/>
                <a:gd name="connsiteX2" fmla="*/ 9458416 w 9458416"/>
                <a:gd name="connsiteY2" fmla="*/ 915310 h 915310"/>
                <a:gd name="connsiteX3" fmla="*/ 0 w 9458416"/>
                <a:gd name="connsiteY3" fmla="*/ 915310 h 915310"/>
                <a:gd name="connsiteX4" fmla="*/ 0 w 9458416"/>
                <a:gd name="connsiteY4" fmla="*/ 0 h 915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8416" h="915310">
                  <a:moveTo>
                    <a:pt x="0" y="0"/>
                  </a:moveTo>
                  <a:lnTo>
                    <a:pt x="9458416" y="0"/>
                  </a:lnTo>
                  <a:lnTo>
                    <a:pt x="9458416" y="915310"/>
                  </a:lnTo>
                  <a:lnTo>
                    <a:pt x="0" y="915310"/>
                  </a:lnTo>
                  <a:lnTo>
                    <a:pt x="0" y="0"/>
                  </a:lnTo>
                  <a:close/>
                </a:path>
              </a:pathLst>
            </a:custGeom>
            <a:grp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6870" tIns="96870" rIns="96870" bIns="96870" numCol="1" spcCol="1270" anchor="ctr" anchorCtr="0">
              <a:noAutofit/>
            </a:bodyPr>
            <a:lstStyle/>
            <a:p>
              <a:pPr marL="0" lvl="0" indent="0" algn="l" defTabSz="977900">
                <a:lnSpc>
                  <a:spcPct val="100000"/>
                </a:lnSpc>
                <a:spcBef>
                  <a:spcPct val="0"/>
                </a:spcBef>
                <a:spcAft>
                  <a:spcPct val="35000"/>
                </a:spcAft>
                <a:buNone/>
              </a:pPr>
              <a:r>
                <a:rPr lang="en-US" kern="1200">
                  <a:solidFill>
                    <a:schemeClr val="tx1"/>
                  </a:solidFill>
                  <a:cs typeface="Arial"/>
                </a:rPr>
                <a:t>Provide tools to streamline the review process and provider collaboration.</a:t>
              </a:r>
            </a:p>
          </p:txBody>
        </p:sp>
      </p:grpSp>
      <p:sp>
        <p:nvSpPr>
          <p:cNvPr id="20" name="TextBox 19">
            <a:extLst>
              <a:ext uri="{FF2B5EF4-FFF2-40B4-BE49-F238E27FC236}">
                <a16:creationId xmlns:a16="http://schemas.microsoft.com/office/drawing/2014/main" id="{14C4283E-CA50-1DB8-9C20-773E1098CE0E}"/>
              </a:ext>
            </a:extLst>
          </p:cNvPr>
          <p:cNvSpPr txBox="1"/>
          <p:nvPr/>
        </p:nvSpPr>
        <p:spPr>
          <a:xfrm>
            <a:off x="501652" y="136749"/>
            <a:ext cx="6015212"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200" b="1">
                <a:solidFill>
                  <a:prstClr val="black"/>
                </a:solidFill>
                <a:ea typeface="Open Sans" panose="020B0606030504020204" pitchFamily="34" charset="0"/>
                <a:cs typeface="Open Sans" panose="020B0606030504020204" pitchFamily="34" charset="0"/>
              </a:rPr>
              <a:t>Session Objectives</a:t>
            </a:r>
            <a:endParaRPr kumimoji="0" lang="en-US" sz="3200" b="1" i="0" u="none" strike="noStrike" kern="1200" cap="none" spc="0" normalizeH="0" baseline="0" noProof="0">
              <a:ln>
                <a:noFill/>
              </a:ln>
              <a:solidFill>
                <a:prstClr val="black"/>
              </a:solidFill>
              <a:effectLst/>
              <a:uLnTx/>
              <a:uFillTx/>
              <a:ea typeface="Open Sans" panose="020B0606030504020204" pitchFamily="34" charset="0"/>
              <a:cs typeface="Open Sans" panose="020B0606030504020204" pitchFamily="34" charset="0"/>
            </a:endParaRPr>
          </a:p>
        </p:txBody>
      </p:sp>
      <p:sp>
        <p:nvSpPr>
          <p:cNvPr id="27" name="Oval 26">
            <a:extLst>
              <a:ext uri="{FF2B5EF4-FFF2-40B4-BE49-F238E27FC236}">
                <a16:creationId xmlns:a16="http://schemas.microsoft.com/office/drawing/2014/main" id="{87F3FD13-551A-BBC5-9AB8-A6B6D6B736EA}"/>
              </a:ext>
            </a:extLst>
          </p:cNvPr>
          <p:cNvSpPr/>
          <p:nvPr/>
        </p:nvSpPr>
        <p:spPr>
          <a:xfrm>
            <a:off x="951612" y="1857424"/>
            <a:ext cx="733646" cy="73364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t>1</a:t>
            </a:r>
          </a:p>
        </p:txBody>
      </p:sp>
      <p:sp>
        <p:nvSpPr>
          <p:cNvPr id="28" name="Oval 27">
            <a:extLst>
              <a:ext uri="{FF2B5EF4-FFF2-40B4-BE49-F238E27FC236}">
                <a16:creationId xmlns:a16="http://schemas.microsoft.com/office/drawing/2014/main" id="{041A0D74-F5DF-7A67-1DE8-E97B442D4750}"/>
              </a:ext>
            </a:extLst>
          </p:cNvPr>
          <p:cNvSpPr/>
          <p:nvPr/>
        </p:nvSpPr>
        <p:spPr>
          <a:xfrm>
            <a:off x="932508" y="3030081"/>
            <a:ext cx="733646" cy="73364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t>2</a:t>
            </a:r>
          </a:p>
        </p:txBody>
      </p:sp>
      <p:sp>
        <p:nvSpPr>
          <p:cNvPr id="29" name="Oval 28">
            <a:extLst>
              <a:ext uri="{FF2B5EF4-FFF2-40B4-BE49-F238E27FC236}">
                <a16:creationId xmlns:a16="http://schemas.microsoft.com/office/drawing/2014/main" id="{BB915AE0-C2E7-949A-11A6-53A702E2A371}"/>
              </a:ext>
            </a:extLst>
          </p:cNvPr>
          <p:cNvSpPr/>
          <p:nvPr/>
        </p:nvSpPr>
        <p:spPr>
          <a:xfrm>
            <a:off x="951612" y="4262117"/>
            <a:ext cx="733646" cy="73364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t>3</a:t>
            </a:r>
          </a:p>
        </p:txBody>
      </p:sp>
    </p:spTree>
    <p:extLst>
      <p:ext uri="{BB962C8B-B14F-4D97-AF65-F5344CB8AC3E}">
        <p14:creationId xmlns:p14="http://schemas.microsoft.com/office/powerpoint/2010/main" val="29414831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0272FB6-DC83-49E8-83B0-ABAE93C962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95576" y="200175"/>
            <a:ext cx="764009" cy="1011099"/>
          </a:xfrm>
          <a:prstGeom prst="rect">
            <a:avLst/>
          </a:prstGeom>
        </p:spPr>
      </p:pic>
      <p:pic>
        <p:nvPicPr>
          <p:cNvPr id="4" name="Picture 2" descr="CT Department of Developmental Disabilities | LinkedIn">
            <a:extLst>
              <a:ext uri="{FF2B5EF4-FFF2-40B4-BE49-F238E27FC236}">
                <a16:creationId xmlns:a16="http://schemas.microsoft.com/office/drawing/2014/main" id="{5517EC61-3D94-4854-8951-6FCEDAB51E4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6295" y="200175"/>
            <a:ext cx="764009" cy="24440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35BC91F4-2E40-4374-98E4-04D6CFB0D7C5}"/>
              </a:ext>
            </a:extLst>
          </p:cNvPr>
          <p:cNvSpPr/>
          <p:nvPr/>
        </p:nvSpPr>
        <p:spPr>
          <a:xfrm>
            <a:off x="0" y="3173853"/>
            <a:ext cx="9418320" cy="904461"/>
          </a:xfrm>
          <a:prstGeom prst="rect">
            <a:avLst/>
          </a:prstGeom>
          <a:noFill/>
          <a:ln w="28575">
            <a:solidFill>
              <a:srgbClr val="E03C3A"/>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4800">
                <a:solidFill>
                  <a:schemeClr val="tx1"/>
                </a:solidFill>
              </a:rPr>
              <a:t> Plan Development Process</a:t>
            </a:r>
          </a:p>
        </p:txBody>
      </p:sp>
      <p:sp>
        <p:nvSpPr>
          <p:cNvPr id="6" name="Rectangle 5">
            <a:extLst>
              <a:ext uri="{FF2B5EF4-FFF2-40B4-BE49-F238E27FC236}">
                <a16:creationId xmlns:a16="http://schemas.microsoft.com/office/drawing/2014/main" id="{907CD1EF-DCD2-48D7-AD53-907055C7D114}"/>
              </a:ext>
            </a:extLst>
          </p:cNvPr>
          <p:cNvSpPr/>
          <p:nvPr/>
        </p:nvSpPr>
        <p:spPr>
          <a:xfrm>
            <a:off x="7222602" y="3150703"/>
            <a:ext cx="2195717" cy="904461"/>
          </a:xfrm>
          <a:prstGeom prst="rect">
            <a:avLst/>
          </a:prstGeom>
          <a:solidFill>
            <a:srgbClr val="E03C3A"/>
          </a:solidFill>
          <a:ln w="28575">
            <a:solidFill>
              <a:srgbClr val="E03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6000">
              <a:solidFill>
                <a:schemeClr val="tx1"/>
              </a:solidFill>
            </a:endParaRPr>
          </a:p>
        </p:txBody>
      </p:sp>
      <p:cxnSp>
        <p:nvCxnSpPr>
          <p:cNvPr id="8" name="Straight Connector 7">
            <a:extLst>
              <a:ext uri="{FF2B5EF4-FFF2-40B4-BE49-F238E27FC236}">
                <a16:creationId xmlns:a16="http://schemas.microsoft.com/office/drawing/2014/main" id="{EA62C180-5CC1-4241-80F4-48F511C1CAEC}"/>
              </a:ext>
            </a:extLst>
          </p:cNvPr>
          <p:cNvCxnSpPr>
            <a:cxnSpLocks/>
          </p:cNvCxnSpPr>
          <p:nvPr/>
        </p:nvCxnSpPr>
        <p:spPr>
          <a:xfrm>
            <a:off x="397566" y="4353339"/>
            <a:ext cx="3856383" cy="0"/>
          </a:xfrm>
          <a:prstGeom prst="line">
            <a:avLst/>
          </a:prstGeom>
          <a:ln w="19050">
            <a:solidFill>
              <a:srgbClr val="E03C3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20021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D286D45-BE18-3358-12DA-42E27FE7FE94}"/>
              </a:ext>
            </a:extLst>
          </p:cNvPr>
          <p:cNvSpPr txBox="1"/>
          <p:nvPr/>
        </p:nvSpPr>
        <p:spPr>
          <a:xfrm>
            <a:off x="501652" y="317503"/>
            <a:ext cx="6015212"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a:latin typeface="Calibri" panose="020F0502020204030204" pitchFamily="34" charset="0"/>
                <a:cs typeface="Calibri" panose="020F0502020204030204" pitchFamily="34" charset="0"/>
              </a:rPr>
              <a:t>Developing a STEP Transition Plan</a:t>
            </a:r>
            <a:endParaRPr lang="en-US" sz="3200">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7622E690-1A01-20DB-5530-889A34DA6CC6}"/>
              </a:ext>
            </a:extLst>
          </p:cNvPr>
          <p:cNvSpPr/>
          <p:nvPr/>
        </p:nvSpPr>
        <p:spPr bwMode="gray">
          <a:xfrm>
            <a:off x="437407" y="1398750"/>
            <a:ext cx="3493063" cy="2422571"/>
          </a:xfrm>
          <a:prstGeom prst="rect">
            <a:avLst/>
          </a:prstGeom>
          <a:noFill/>
          <a:ln w="25400" cap="flat" cmpd="sng" algn="ctr">
            <a:noFill/>
            <a:prstDash val="solid"/>
            <a:headEnd/>
            <a:tailEnd/>
          </a:ln>
          <a:effectLst/>
        </p:spPr>
        <p:txBody>
          <a:bodyPr wrap="square" lIns="171386" tIns="85693" rIns="85693" bIns="0" rtlCol="0" anchor="t"/>
          <a:lstStyle/>
          <a:p>
            <a:pPr marL="0" marR="0" lvl="0" indent="0" algn="ctr" defTabSz="671718" rtl="0" eaLnBrk="1" fontAlgn="base" latinLnBrk="0" hangingPunct="1">
              <a:spcBef>
                <a:spcPct val="0"/>
              </a:spcBef>
              <a:spcAft>
                <a:spcPts val="1200"/>
              </a:spcAft>
              <a:buClrTx/>
              <a:buSzTx/>
              <a:buFontTx/>
              <a:buNone/>
              <a:tabLst/>
              <a:defRPr/>
            </a:pPr>
            <a:r>
              <a:rPr kumimoji="0" lang="en-US" sz="2645" b="1" i="0" u="none" strike="noStrike" kern="0" spc="0" normalizeH="0" noProof="0">
                <a:ln>
                  <a:noFill/>
                </a:ln>
                <a:solidFill>
                  <a:prstClr val="black"/>
                </a:solidFill>
                <a:effectLst/>
                <a:uLnTx/>
                <a:uFillTx/>
                <a:ea typeface="+mn-ea"/>
                <a:cs typeface="+mn-cs"/>
                <a:sym typeface="Gotham Book" charset="0"/>
              </a:rPr>
              <a:t>STEP Guide and Instructions</a:t>
            </a:r>
            <a:endParaRPr kumimoji="0" lang="en-US" sz="1312" b="0" i="0" u="none" strike="noStrike" kern="0" spc="0" normalizeH="0" noProof="0">
              <a:ln>
                <a:noFill/>
              </a:ln>
              <a:solidFill>
                <a:prstClr val="black"/>
              </a:solidFill>
              <a:effectLst/>
              <a:uLnTx/>
              <a:uFillTx/>
              <a:ea typeface="+mn-ea"/>
              <a:cs typeface="+mn-cs"/>
              <a:sym typeface="Gotham Book" charset="0"/>
            </a:endParaRPr>
          </a:p>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1600" b="0" i="0" u="none" strike="noStrike" kern="0" cap="none" spc="0" normalizeH="0" baseline="0" noProof="0">
                <a:ln>
                  <a:noFill/>
                </a:ln>
                <a:solidFill>
                  <a:prstClr val="black"/>
                </a:solidFill>
                <a:effectLst/>
                <a:uLnTx/>
                <a:uFillTx/>
                <a:ea typeface="+mn-ea"/>
                <a:cs typeface="+mn-cs"/>
                <a:sym typeface="Gotham Book" charset="0"/>
              </a:rPr>
              <a:t>Providers use these documents to understand the purpose of STEP, the types of incentivized transitions, and how to complete the Transition Plan Templates. </a:t>
            </a:r>
            <a:r>
              <a:rPr lang="en-US" sz="1600" kern="0">
                <a:solidFill>
                  <a:prstClr val="black"/>
                </a:solidFill>
                <a:sym typeface="Gotham Book" charset="0"/>
              </a:rPr>
              <a:t>If you are working closely with a provider, </a:t>
            </a:r>
            <a:r>
              <a:rPr lang="en-US" sz="1600" b="1" kern="0">
                <a:solidFill>
                  <a:schemeClr val="accent1"/>
                </a:solidFill>
                <a:sym typeface="Gotham Book" charset="0"/>
              </a:rPr>
              <a:t>direct them to these resources prior </a:t>
            </a:r>
            <a:r>
              <a:rPr lang="en-US" sz="1600" kern="0">
                <a:solidFill>
                  <a:prstClr val="black"/>
                </a:solidFill>
                <a:sym typeface="Gotham Book" charset="0"/>
              </a:rPr>
              <a:t>to starting their plan</a:t>
            </a:r>
            <a:r>
              <a:rPr kumimoji="0" lang="en-US" sz="1400" b="0" i="0" u="none" strike="noStrike" kern="0" cap="none" spc="0" normalizeH="0" baseline="0" noProof="0">
                <a:ln>
                  <a:noFill/>
                </a:ln>
                <a:solidFill>
                  <a:prstClr val="black"/>
                </a:solidFill>
                <a:effectLst/>
                <a:uLnTx/>
                <a:uFillTx/>
                <a:ea typeface="+mn-ea"/>
                <a:cs typeface="+mn-cs"/>
                <a:sym typeface="Gotham Book" charset="0"/>
              </a:rPr>
              <a:t>.</a:t>
            </a:r>
          </a:p>
        </p:txBody>
      </p:sp>
      <p:cxnSp>
        <p:nvCxnSpPr>
          <p:cNvPr id="13" name="Straight Connector 12">
            <a:extLst>
              <a:ext uri="{FF2B5EF4-FFF2-40B4-BE49-F238E27FC236}">
                <a16:creationId xmlns:a16="http://schemas.microsoft.com/office/drawing/2014/main" id="{25110565-1185-C2B4-8E1E-59614DA2FBD2}"/>
              </a:ext>
            </a:extLst>
          </p:cNvPr>
          <p:cNvCxnSpPr>
            <a:cxnSpLocks/>
          </p:cNvCxnSpPr>
          <p:nvPr/>
        </p:nvCxnSpPr>
        <p:spPr>
          <a:xfrm>
            <a:off x="4042201" y="1656966"/>
            <a:ext cx="0" cy="4600402"/>
          </a:xfrm>
          <a:prstGeom prst="line">
            <a:avLst/>
          </a:prstGeom>
          <a:noFill/>
          <a:ln w="19050" cap="flat" cmpd="sng" algn="ctr">
            <a:solidFill>
              <a:schemeClr val="accent1"/>
            </a:solidFill>
            <a:prstDash val="solid"/>
          </a:ln>
          <a:effectLst/>
        </p:spPr>
      </p:cxnSp>
      <p:sp>
        <p:nvSpPr>
          <p:cNvPr id="71" name="Rectangle 70">
            <a:extLst>
              <a:ext uri="{FF2B5EF4-FFF2-40B4-BE49-F238E27FC236}">
                <a16:creationId xmlns:a16="http://schemas.microsoft.com/office/drawing/2014/main" id="{755544C8-D976-DBB4-B658-618BAB638B17}"/>
              </a:ext>
            </a:extLst>
          </p:cNvPr>
          <p:cNvSpPr/>
          <p:nvPr/>
        </p:nvSpPr>
        <p:spPr bwMode="gray">
          <a:xfrm>
            <a:off x="4149231" y="1395030"/>
            <a:ext cx="3493063" cy="2422571"/>
          </a:xfrm>
          <a:prstGeom prst="rect">
            <a:avLst/>
          </a:prstGeom>
          <a:noFill/>
          <a:ln w="25400" cap="flat" cmpd="sng" algn="ctr">
            <a:noFill/>
            <a:prstDash val="solid"/>
            <a:headEnd/>
            <a:tailEnd/>
          </a:ln>
          <a:effectLst/>
        </p:spPr>
        <p:txBody>
          <a:bodyPr wrap="square" lIns="171386" tIns="85693" rIns="85693" bIns="0" rtlCol="0" anchor="t"/>
          <a:lstStyle/>
          <a:p>
            <a:pPr marL="0" marR="0" lvl="0" indent="0" algn="ctr" defTabSz="671718" rtl="0" eaLnBrk="1" fontAlgn="base" latinLnBrk="0" hangingPunct="1">
              <a:spcBef>
                <a:spcPct val="0"/>
              </a:spcBef>
              <a:buClrTx/>
              <a:buSzTx/>
              <a:buFontTx/>
              <a:buNone/>
              <a:tabLst/>
              <a:defRPr/>
            </a:pPr>
            <a:r>
              <a:rPr kumimoji="0" lang="en-US" sz="2645" b="1" i="0" u="none" strike="noStrike" kern="0" spc="0" normalizeH="0" noProof="0">
                <a:ln>
                  <a:noFill/>
                </a:ln>
                <a:solidFill>
                  <a:prstClr val="black"/>
                </a:solidFill>
                <a:effectLst/>
                <a:uLnTx/>
                <a:uFillTx/>
                <a:ea typeface="+mn-ea"/>
                <a:cs typeface="+mn-cs"/>
                <a:sym typeface="Gotham Book" charset="0"/>
              </a:rPr>
              <a:t>Template Forms </a:t>
            </a:r>
          </a:p>
          <a:p>
            <a:pPr marL="0" marR="0" lvl="0" indent="0" algn="ctr" defTabSz="671718" rtl="0" eaLnBrk="1" fontAlgn="base" latinLnBrk="0" hangingPunct="1">
              <a:spcBef>
                <a:spcPct val="0"/>
              </a:spcBef>
              <a:spcAft>
                <a:spcPts val="1200"/>
              </a:spcAft>
              <a:buClrTx/>
              <a:buSzTx/>
              <a:buFontTx/>
              <a:buNone/>
              <a:tabLst/>
              <a:defRPr/>
            </a:pPr>
            <a:r>
              <a:rPr kumimoji="0" lang="en-US" sz="2645" b="1" i="0" u="none" strike="noStrike" kern="0" spc="0" normalizeH="0" noProof="0">
                <a:ln>
                  <a:noFill/>
                </a:ln>
                <a:solidFill>
                  <a:prstClr val="black"/>
                </a:solidFill>
                <a:effectLst/>
                <a:uLnTx/>
                <a:uFillTx/>
                <a:ea typeface="+mn-ea"/>
                <a:cs typeface="+mn-cs"/>
                <a:sym typeface="Gotham Book" charset="0"/>
              </a:rPr>
              <a:t>A and B</a:t>
            </a:r>
            <a:endParaRPr kumimoji="0" lang="en-US" sz="1312" b="0" i="0" u="none" strike="noStrike" kern="0" spc="0" normalizeH="0" noProof="0">
              <a:ln>
                <a:noFill/>
              </a:ln>
              <a:solidFill>
                <a:prstClr val="black"/>
              </a:solidFill>
              <a:effectLst/>
              <a:uLnTx/>
              <a:uFillTx/>
              <a:ea typeface="+mn-ea"/>
              <a:cs typeface="+mn-cs"/>
              <a:sym typeface="Gotham Book" charset="0"/>
            </a:endParaRPr>
          </a:p>
          <a:p>
            <a:pPr marL="0" marR="0" lvl="0" indent="0" algn="ctr" defTabSz="671718" rtl="0" eaLnBrk="1" fontAlgn="base" latinLnBrk="0" hangingPunct="1">
              <a:lnSpc>
                <a:spcPct val="106000"/>
              </a:lnSpc>
              <a:spcBef>
                <a:spcPct val="0"/>
              </a:spcBef>
              <a:spcAft>
                <a:spcPct val="0"/>
              </a:spcAft>
              <a:buClrTx/>
              <a:buSzTx/>
              <a:buFontTx/>
              <a:buNone/>
              <a:tabLst/>
              <a:defRPr/>
            </a:pPr>
            <a:r>
              <a:rPr kumimoji="0" lang="en-US" sz="1600" b="0" i="0" u="none" strike="noStrike" kern="0" cap="none" spc="0" normalizeH="0" baseline="0" noProof="0">
                <a:ln>
                  <a:noFill/>
                </a:ln>
                <a:solidFill>
                  <a:prstClr val="black"/>
                </a:solidFill>
                <a:effectLst/>
                <a:uLnTx/>
                <a:uFillTx/>
                <a:ea typeface="+mn-ea"/>
                <a:cs typeface="+mn-cs"/>
                <a:sym typeface="Gotham Book" charset="0"/>
              </a:rPr>
              <a:t>Providers will </a:t>
            </a:r>
            <a:r>
              <a:rPr kumimoji="0" lang="en-US" sz="1600" b="1" i="0" u="none" strike="noStrike" kern="0" cap="none" spc="0" normalizeH="0" baseline="0" noProof="0">
                <a:ln>
                  <a:noFill/>
                </a:ln>
                <a:solidFill>
                  <a:schemeClr val="accent2"/>
                </a:solidFill>
                <a:effectLst/>
                <a:uLnTx/>
                <a:uFillTx/>
                <a:ea typeface="+mn-ea"/>
                <a:cs typeface="+mn-cs"/>
                <a:sym typeface="Gotham Book" charset="0"/>
              </a:rPr>
              <a:t>complete a narrative description </a:t>
            </a:r>
            <a:r>
              <a:rPr kumimoji="0" lang="en-US" sz="1600" b="0" i="0" u="none" strike="noStrike" kern="0" cap="none" spc="0" normalizeH="0" baseline="0" noProof="0">
                <a:ln>
                  <a:noFill/>
                </a:ln>
                <a:solidFill>
                  <a:prstClr val="black"/>
                </a:solidFill>
                <a:effectLst/>
                <a:uLnTx/>
                <a:uFillTx/>
                <a:ea typeface="+mn-ea"/>
                <a:cs typeface="+mn-cs"/>
                <a:sym typeface="Gotham Book" charset="0"/>
              </a:rPr>
              <a:t>of the transformation. This is a collaborative process that involves </a:t>
            </a:r>
            <a:r>
              <a:rPr kumimoji="0" lang="en-US" sz="1600" b="1" i="0" u="none" strike="noStrike" kern="0" cap="none" spc="0" normalizeH="0" baseline="0" noProof="0">
                <a:ln>
                  <a:noFill/>
                </a:ln>
                <a:solidFill>
                  <a:schemeClr val="accent2"/>
                </a:solidFill>
                <a:effectLst/>
                <a:uLnTx/>
                <a:uFillTx/>
                <a:ea typeface="+mn-ea"/>
                <a:cs typeface="+mn-cs"/>
                <a:sym typeface="Gotham Book" charset="0"/>
              </a:rPr>
              <a:t>close coordination with individuals</a:t>
            </a:r>
            <a:r>
              <a:rPr kumimoji="0" lang="en-US" sz="1600" b="0" i="0" u="none" strike="noStrike" kern="0" cap="none" spc="0" normalizeH="0" baseline="0" noProof="0">
                <a:ln>
                  <a:noFill/>
                </a:ln>
                <a:solidFill>
                  <a:prstClr val="black"/>
                </a:solidFill>
                <a:effectLst/>
                <a:uLnTx/>
                <a:uFillTx/>
                <a:ea typeface="+mn-ea"/>
                <a:cs typeface="+mn-cs"/>
                <a:sym typeface="Gotham Book" charset="0"/>
              </a:rPr>
              <a:t> and their teams/natural supports. Staying in touch throughout the process will result in fewer changes down the line.</a:t>
            </a:r>
          </a:p>
        </p:txBody>
      </p:sp>
      <p:cxnSp>
        <p:nvCxnSpPr>
          <p:cNvPr id="72" name="Straight Connector 71">
            <a:extLst>
              <a:ext uri="{FF2B5EF4-FFF2-40B4-BE49-F238E27FC236}">
                <a16:creationId xmlns:a16="http://schemas.microsoft.com/office/drawing/2014/main" id="{D29B371A-1385-F687-7B1B-C5623CE8B08D}"/>
              </a:ext>
            </a:extLst>
          </p:cNvPr>
          <p:cNvCxnSpPr>
            <a:cxnSpLocks/>
          </p:cNvCxnSpPr>
          <p:nvPr/>
        </p:nvCxnSpPr>
        <p:spPr>
          <a:xfrm>
            <a:off x="7754025" y="1653246"/>
            <a:ext cx="0" cy="4345779"/>
          </a:xfrm>
          <a:prstGeom prst="line">
            <a:avLst/>
          </a:prstGeom>
          <a:noFill/>
          <a:ln w="19050" cap="flat" cmpd="sng" algn="ctr">
            <a:solidFill>
              <a:schemeClr val="accent1"/>
            </a:solidFill>
            <a:prstDash val="solid"/>
          </a:ln>
          <a:effectLst/>
        </p:spPr>
      </p:cxnSp>
      <p:grpSp>
        <p:nvGrpSpPr>
          <p:cNvPr id="73" name="Graphic 1100">
            <a:extLst>
              <a:ext uri="{FF2B5EF4-FFF2-40B4-BE49-F238E27FC236}">
                <a16:creationId xmlns:a16="http://schemas.microsoft.com/office/drawing/2014/main" id="{253031D0-F99E-2574-B0F8-D6762EDAB75D}"/>
              </a:ext>
            </a:extLst>
          </p:cNvPr>
          <p:cNvGrpSpPr/>
          <p:nvPr/>
        </p:nvGrpSpPr>
        <p:grpSpPr>
          <a:xfrm>
            <a:off x="5149627" y="4942547"/>
            <a:ext cx="1496974" cy="1495577"/>
            <a:chOff x="8841755" y="4312706"/>
            <a:chExt cx="362309" cy="361971"/>
          </a:xfrm>
          <a:solidFill>
            <a:schemeClr val="accent2"/>
          </a:solidFill>
        </p:grpSpPr>
        <p:sp>
          <p:nvSpPr>
            <p:cNvPr id="74" name="Graphic 1100">
              <a:extLst>
                <a:ext uri="{FF2B5EF4-FFF2-40B4-BE49-F238E27FC236}">
                  <a16:creationId xmlns:a16="http://schemas.microsoft.com/office/drawing/2014/main" id="{902C5A97-DFFB-823C-864C-25CACD3AE2D7}"/>
                </a:ext>
              </a:extLst>
            </p:cNvPr>
            <p:cNvSpPr/>
            <p:nvPr/>
          </p:nvSpPr>
          <p:spPr>
            <a:xfrm>
              <a:off x="8841755" y="431270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6 w 362309"/>
                <a:gd name="connsiteY8" fmla="*/ 12768 h 361971"/>
                <a:gd name="connsiteX9" fmla="*/ 349530 w 362309"/>
                <a:gd name="connsiteY9" fmla="*/ 180667 h 361971"/>
                <a:gd name="connsiteX10" fmla="*/ 349530 w 362309"/>
                <a:gd name="connsiteY10" fmla="*/ 180667 h 361971"/>
                <a:gd name="connsiteX11" fmla="*/ 181474 w 362309"/>
                <a:gd name="connsiteY11" fmla="*/ 349204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3" y="0"/>
                    <a:pt x="0" y="81077"/>
                    <a:pt x="0" y="180667"/>
                  </a:cubicBezTo>
                  <a:cubicBezTo>
                    <a:pt x="0" y="280895"/>
                    <a:pt x="81153" y="361972"/>
                    <a:pt x="180836" y="361972"/>
                  </a:cubicBezTo>
                  <a:cubicBezTo>
                    <a:pt x="281157" y="361972"/>
                    <a:pt x="362310" y="280895"/>
                    <a:pt x="362310" y="181305"/>
                  </a:cubicBezTo>
                  <a:cubicBezTo>
                    <a:pt x="362310" y="181305"/>
                    <a:pt x="362310" y="181305"/>
                    <a:pt x="362310" y="181305"/>
                  </a:cubicBezTo>
                  <a:cubicBezTo>
                    <a:pt x="362310" y="81077"/>
                    <a:pt x="281157" y="0"/>
                    <a:pt x="181474" y="0"/>
                  </a:cubicBezTo>
                  <a:close/>
                  <a:moveTo>
                    <a:pt x="181474" y="349204"/>
                  </a:moveTo>
                  <a:cubicBezTo>
                    <a:pt x="88181" y="349204"/>
                    <a:pt x="12780" y="273873"/>
                    <a:pt x="12780" y="181305"/>
                  </a:cubicBezTo>
                  <a:cubicBezTo>
                    <a:pt x="12780" y="88099"/>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lnTo>
                    <a:pt x="181474" y="349204"/>
                  </a:lnTo>
                  <a:close/>
                </a:path>
              </a:pathLst>
            </a:custGeom>
            <a:grpFill/>
            <a:ln w="6390" cap="flat">
              <a:noFill/>
              <a:prstDash val="solid"/>
              <a:miter/>
            </a:ln>
          </p:spPr>
          <p:txBody>
            <a:bodyPr rtlCol="0" anchor="ctr"/>
            <a:lstStyle/>
            <a:p>
              <a:endParaRPr lang="en-US"/>
            </a:p>
          </p:txBody>
        </p:sp>
        <p:sp>
          <p:nvSpPr>
            <p:cNvPr id="75" name="Graphic 1100">
              <a:extLst>
                <a:ext uri="{FF2B5EF4-FFF2-40B4-BE49-F238E27FC236}">
                  <a16:creationId xmlns:a16="http://schemas.microsoft.com/office/drawing/2014/main" id="{19F3F93F-926F-415E-7504-2B92C48D9B5D}"/>
                </a:ext>
              </a:extLst>
            </p:cNvPr>
            <p:cNvSpPr/>
            <p:nvPr/>
          </p:nvSpPr>
          <p:spPr>
            <a:xfrm>
              <a:off x="8935688" y="4442939"/>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0 w 115657"/>
                <a:gd name="connsiteY3" fmla="*/ 153216 h 159599"/>
                <a:gd name="connsiteX4" fmla="*/ 6390 w 115657"/>
                <a:gd name="connsiteY4" fmla="*/ 159600 h 159599"/>
                <a:gd name="connsiteX5" fmla="*/ 109268 w 115657"/>
                <a:gd name="connsiteY5" fmla="*/ 159600 h 159599"/>
                <a:gd name="connsiteX6" fmla="*/ 115658 w 115657"/>
                <a:gd name="connsiteY6" fmla="*/ 153216 h 159599"/>
                <a:gd name="connsiteX7" fmla="*/ 115658 w 115657"/>
                <a:gd name="connsiteY7" fmla="*/ 6384 h 159599"/>
                <a:gd name="connsiteX8" fmla="*/ 109268 w 115657"/>
                <a:gd name="connsiteY8" fmla="*/ 0 h 159599"/>
                <a:gd name="connsiteX9" fmla="*/ 102878 w 115657"/>
                <a:gd name="connsiteY9" fmla="*/ 146832 h 159599"/>
                <a:gd name="connsiteX10" fmla="*/ 12780 w 115657"/>
                <a:gd name="connsiteY10" fmla="*/ 146832 h 159599"/>
                <a:gd name="connsiteX11" fmla="*/ 12780 w 115657"/>
                <a:gd name="connsiteY11" fmla="*/ 12768 h 159599"/>
                <a:gd name="connsiteX12" fmla="*/ 102878 w 115657"/>
                <a:gd name="connsiteY12" fmla="*/ 12768 h 159599"/>
                <a:gd name="connsiteX13" fmla="*/ 102878 w 115657"/>
                <a:gd name="connsiteY13" fmla="*/ 146832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657" h="159599">
                  <a:moveTo>
                    <a:pt x="109268" y="0"/>
                  </a:moveTo>
                  <a:lnTo>
                    <a:pt x="6390" y="0"/>
                  </a:lnTo>
                  <a:cubicBezTo>
                    <a:pt x="2556" y="0"/>
                    <a:pt x="0" y="2553"/>
                    <a:pt x="0" y="6384"/>
                  </a:cubicBezTo>
                  <a:lnTo>
                    <a:pt x="0" y="153216"/>
                  </a:lnTo>
                  <a:cubicBezTo>
                    <a:pt x="0" y="157046"/>
                    <a:pt x="2556" y="159600"/>
                    <a:pt x="6390" y="159600"/>
                  </a:cubicBezTo>
                  <a:lnTo>
                    <a:pt x="109268" y="159600"/>
                  </a:lnTo>
                  <a:cubicBezTo>
                    <a:pt x="113102" y="159600"/>
                    <a:pt x="115658" y="157046"/>
                    <a:pt x="115658" y="153216"/>
                  </a:cubicBezTo>
                  <a:lnTo>
                    <a:pt x="115658" y="6384"/>
                  </a:lnTo>
                  <a:cubicBezTo>
                    <a:pt x="115658" y="3192"/>
                    <a:pt x="113102" y="0"/>
                    <a:pt x="109268" y="0"/>
                  </a:cubicBezTo>
                  <a:close/>
                  <a:moveTo>
                    <a:pt x="102878" y="146832"/>
                  </a:moveTo>
                  <a:lnTo>
                    <a:pt x="12780" y="146832"/>
                  </a:lnTo>
                  <a:lnTo>
                    <a:pt x="12780" y="12768"/>
                  </a:lnTo>
                  <a:lnTo>
                    <a:pt x="102878" y="12768"/>
                  </a:lnTo>
                  <a:lnTo>
                    <a:pt x="102878" y="146832"/>
                  </a:lnTo>
                  <a:close/>
                </a:path>
              </a:pathLst>
            </a:custGeom>
            <a:grpFill/>
            <a:ln w="6390" cap="flat">
              <a:noFill/>
              <a:prstDash val="solid"/>
              <a:miter/>
            </a:ln>
          </p:spPr>
          <p:txBody>
            <a:bodyPr rtlCol="0" anchor="ctr"/>
            <a:lstStyle/>
            <a:p>
              <a:endParaRPr lang="en-US"/>
            </a:p>
          </p:txBody>
        </p:sp>
        <p:sp>
          <p:nvSpPr>
            <p:cNvPr id="76" name="Graphic 1100">
              <a:extLst>
                <a:ext uri="{FF2B5EF4-FFF2-40B4-BE49-F238E27FC236}">
                  <a16:creationId xmlns:a16="http://schemas.microsoft.com/office/drawing/2014/main" id="{DE5B5F36-6033-3CCE-A022-CBD476F94B12}"/>
                </a:ext>
              </a:extLst>
            </p:cNvPr>
            <p:cNvSpPr/>
            <p:nvPr/>
          </p:nvSpPr>
          <p:spPr>
            <a:xfrm>
              <a:off x="8965081" y="4414211"/>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6390 w 115657"/>
                <a:gd name="connsiteY3" fmla="*/ 12768 h 159599"/>
                <a:gd name="connsiteX4" fmla="*/ 102878 w 115657"/>
                <a:gd name="connsiteY4" fmla="*/ 12768 h 159599"/>
                <a:gd name="connsiteX5" fmla="*/ 102878 w 115657"/>
                <a:gd name="connsiteY5" fmla="*/ 153216 h 159599"/>
                <a:gd name="connsiteX6" fmla="*/ 109268 w 115657"/>
                <a:gd name="connsiteY6" fmla="*/ 159600 h 159599"/>
                <a:gd name="connsiteX7" fmla="*/ 115658 w 115657"/>
                <a:gd name="connsiteY7" fmla="*/ 153216 h 159599"/>
                <a:gd name="connsiteX8" fmla="*/ 115658 w 115657"/>
                <a:gd name="connsiteY8" fmla="*/ 6384 h 159599"/>
                <a:gd name="connsiteX9" fmla="*/ 109268 w 115657"/>
                <a:gd name="connsiteY9" fmla="*/ 0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57" h="159599">
                  <a:moveTo>
                    <a:pt x="109268" y="0"/>
                  </a:moveTo>
                  <a:lnTo>
                    <a:pt x="6390" y="0"/>
                  </a:lnTo>
                  <a:cubicBezTo>
                    <a:pt x="2556" y="0"/>
                    <a:pt x="0" y="2553"/>
                    <a:pt x="0" y="6384"/>
                  </a:cubicBezTo>
                  <a:cubicBezTo>
                    <a:pt x="0" y="10214"/>
                    <a:pt x="2556" y="12768"/>
                    <a:pt x="6390" y="12768"/>
                  </a:cubicBezTo>
                  <a:lnTo>
                    <a:pt x="102878" y="12768"/>
                  </a:lnTo>
                  <a:lnTo>
                    <a:pt x="102878" y="153216"/>
                  </a:lnTo>
                  <a:cubicBezTo>
                    <a:pt x="102878" y="157046"/>
                    <a:pt x="105434" y="159600"/>
                    <a:pt x="109268" y="159600"/>
                  </a:cubicBezTo>
                  <a:cubicBezTo>
                    <a:pt x="113102" y="159600"/>
                    <a:pt x="115658" y="157046"/>
                    <a:pt x="115658" y="153216"/>
                  </a:cubicBezTo>
                  <a:lnTo>
                    <a:pt x="115658" y="6384"/>
                  </a:lnTo>
                  <a:cubicBezTo>
                    <a:pt x="115658" y="2553"/>
                    <a:pt x="112463" y="0"/>
                    <a:pt x="109268" y="0"/>
                  </a:cubicBezTo>
                  <a:close/>
                </a:path>
              </a:pathLst>
            </a:custGeom>
            <a:grpFill/>
            <a:ln w="6390" cap="flat">
              <a:noFill/>
              <a:prstDash val="solid"/>
              <a:miter/>
            </a:ln>
          </p:spPr>
          <p:txBody>
            <a:bodyPr rtlCol="0" anchor="ctr"/>
            <a:lstStyle/>
            <a:p>
              <a:endParaRPr lang="en-US"/>
            </a:p>
          </p:txBody>
        </p:sp>
        <p:sp>
          <p:nvSpPr>
            <p:cNvPr id="77" name="Graphic 1100">
              <a:extLst>
                <a:ext uri="{FF2B5EF4-FFF2-40B4-BE49-F238E27FC236}">
                  <a16:creationId xmlns:a16="http://schemas.microsoft.com/office/drawing/2014/main" id="{4F568D00-B960-6948-4484-277FACD1D82D}"/>
                </a:ext>
              </a:extLst>
            </p:cNvPr>
            <p:cNvSpPr/>
            <p:nvPr/>
          </p:nvSpPr>
          <p:spPr>
            <a:xfrm>
              <a:off x="8994475" y="4384845"/>
              <a:ext cx="115657" cy="159599"/>
            </a:xfrm>
            <a:custGeom>
              <a:avLst/>
              <a:gdLst>
                <a:gd name="connsiteX0" fmla="*/ 109268 w 115657"/>
                <a:gd name="connsiteY0" fmla="*/ 0 h 159599"/>
                <a:gd name="connsiteX1" fmla="*/ 6390 w 115657"/>
                <a:gd name="connsiteY1" fmla="*/ 0 h 159599"/>
                <a:gd name="connsiteX2" fmla="*/ 0 w 115657"/>
                <a:gd name="connsiteY2" fmla="*/ 6384 h 159599"/>
                <a:gd name="connsiteX3" fmla="*/ 6390 w 115657"/>
                <a:gd name="connsiteY3" fmla="*/ 12768 h 159599"/>
                <a:gd name="connsiteX4" fmla="*/ 102878 w 115657"/>
                <a:gd name="connsiteY4" fmla="*/ 12768 h 159599"/>
                <a:gd name="connsiteX5" fmla="*/ 102878 w 115657"/>
                <a:gd name="connsiteY5" fmla="*/ 153216 h 159599"/>
                <a:gd name="connsiteX6" fmla="*/ 109268 w 115657"/>
                <a:gd name="connsiteY6" fmla="*/ 159600 h 159599"/>
                <a:gd name="connsiteX7" fmla="*/ 115658 w 115657"/>
                <a:gd name="connsiteY7" fmla="*/ 153216 h 159599"/>
                <a:gd name="connsiteX8" fmla="*/ 115658 w 115657"/>
                <a:gd name="connsiteY8" fmla="*/ 6384 h 159599"/>
                <a:gd name="connsiteX9" fmla="*/ 109268 w 115657"/>
                <a:gd name="connsiteY9" fmla="*/ 0 h 15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57" h="159599">
                  <a:moveTo>
                    <a:pt x="109268" y="0"/>
                  </a:moveTo>
                  <a:lnTo>
                    <a:pt x="6390" y="0"/>
                  </a:lnTo>
                  <a:cubicBezTo>
                    <a:pt x="2556" y="0"/>
                    <a:pt x="0" y="2554"/>
                    <a:pt x="0" y="6384"/>
                  </a:cubicBezTo>
                  <a:cubicBezTo>
                    <a:pt x="0" y="10215"/>
                    <a:pt x="2556" y="12768"/>
                    <a:pt x="6390" y="12768"/>
                  </a:cubicBezTo>
                  <a:lnTo>
                    <a:pt x="102878" y="12768"/>
                  </a:lnTo>
                  <a:lnTo>
                    <a:pt x="102878" y="153216"/>
                  </a:lnTo>
                  <a:cubicBezTo>
                    <a:pt x="102878" y="157046"/>
                    <a:pt x="105434" y="159600"/>
                    <a:pt x="109268" y="159600"/>
                  </a:cubicBezTo>
                  <a:cubicBezTo>
                    <a:pt x="113102" y="159600"/>
                    <a:pt x="115658" y="157046"/>
                    <a:pt x="115658" y="153216"/>
                  </a:cubicBezTo>
                  <a:lnTo>
                    <a:pt x="115658" y="6384"/>
                  </a:lnTo>
                  <a:cubicBezTo>
                    <a:pt x="115658" y="2554"/>
                    <a:pt x="112463" y="0"/>
                    <a:pt x="109268" y="0"/>
                  </a:cubicBezTo>
                  <a:close/>
                </a:path>
              </a:pathLst>
            </a:custGeom>
            <a:grpFill/>
            <a:ln w="6390" cap="flat">
              <a:noFill/>
              <a:prstDash val="solid"/>
              <a:miter/>
            </a:ln>
          </p:spPr>
          <p:txBody>
            <a:bodyPr rtlCol="0" anchor="ctr"/>
            <a:lstStyle/>
            <a:p>
              <a:endParaRPr lang="en-US"/>
            </a:p>
          </p:txBody>
        </p:sp>
        <p:sp>
          <p:nvSpPr>
            <p:cNvPr id="78" name="Graphic 1100">
              <a:extLst>
                <a:ext uri="{FF2B5EF4-FFF2-40B4-BE49-F238E27FC236}">
                  <a16:creationId xmlns:a16="http://schemas.microsoft.com/office/drawing/2014/main" id="{F6E45F29-8FF8-B458-2F86-ED5A938AC575}"/>
                </a:ext>
              </a:extLst>
            </p:cNvPr>
            <p:cNvSpPr/>
            <p:nvPr/>
          </p:nvSpPr>
          <p:spPr>
            <a:xfrm>
              <a:off x="8958052" y="4560404"/>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5"/>
                    <a:pt x="71567" y="6384"/>
                  </a:cubicBezTo>
                  <a:cubicBezTo>
                    <a:pt x="71567" y="2554"/>
                    <a:pt x="69011" y="0"/>
                    <a:pt x="65177" y="0"/>
                  </a:cubicBezTo>
                  <a:lnTo>
                    <a:pt x="6390" y="0"/>
                  </a:lnTo>
                  <a:cubicBezTo>
                    <a:pt x="2556" y="0"/>
                    <a:pt x="0" y="2554"/>
                    <a:pt x="0" y="6384"/>
                  </a:cubicBezTo>
                  <a:cubicBezTo>
                    <a:pt x="0" y="10215"/>
                    <a:pt x="2556" y="12768"/>
                    <a:pt x="6390" y="12768"/>
                  </a:cubicBezTo>
                  <a:close/>
                </a:path>
              </a:pathLst>
            </a:custGeom>
            <a:grpFill/>
            <a:ln w="6390" cap="flat">
              <a:noFill/>
              <a:prstDash val="solid"/>
              <a:miter/>
            </a:ln>
          </p:spPr>
          <p:txBody>
            <a:bodyPr rtlCol="0" anchor="ctr"/>
            <a:lstStyle/>
            <a:p>
              <a:endParaRPr lang="en-US"/>
            </a:p>
          </p:txBody>
        </p:sp>
        <p:sp>
          <p:nvSpPr>
            <p:cNvPr id="79" name="Graphic 1100">
              <a:extLst>
                <a:ext uri="{FF2B5EF4-FFF2-40B4-BE49-F238E27FC236}">
                  <a16:creationId xmlns:a16="http://schemas.microsoft.com/office/drawing/2014/main" id="{953D19F3-E51C-2F3D-E092-FE17394E4CB3}"/>
                </a:ext>
              </a:extLst>
            </p:cNvPr>
            <p:cNvSpPr/>
            <p:nvPr/>
          </p:nvSpPr>
          <p:spPr>
            <a:xfrm>
              <a:off x="8958052" y="4531038"/>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4"/>
                    <a:pt x="71567" y="6384"/>
                  </a:cubicBezTo>
                  <a:cubicBezTo>
                    <a:pt x="71567" y="2554"/>
                    <a:pt x="69011" y="0"/>
                    <a:pt x="65177" y="0"/>
                  </a:cubicBezTo>
                  <a:lnTo>
                    <a:pt x="6390" y="0"/>
                  </a:lnTo>
                  <a:cubicBezTo>
                    <a:pt x="2556" y="0"/>
                    <a:pt x="0" y="2554"/>
                    <a:pt x="0" y="6384"/>
                  </a:cubicBezTo>
                  <a:cubicBezTo>
                    <a:pt x="0" y="10214"/>
                    <a:pt x="2556" y="12768"/>
                    <a:pt x="6390" y="12768"/>
                  </a:cubicBezTo>
                  <a:close/>
                </a:path>
              </a:pathLst>
            </a:custGeom>
            <a:grpFill/>
            <a:ln w="6390" cap="flat">
              <a:noFill/>
              <a:prstDash val="solid"/>
              <a:miter/>
            </a:ln>
          </p:spPr>
          <p:txBody>
            <a:bodyPr rtlCol="0" anchor="ctr"/>
            <a:lstStyle/>
            <a:p>
              <a:endParaRPr lang="en-US"/>
            </a:p>
          </p:txBody>
        </p:sp>
        <p:sp>
          <p:nvSpPr>
            <p:cNvPr id="80" name="Graphic 1100">
              <a:extLst>
                <a:ext uri="{FF2B5EF4-FFF2-40B4-BE49-F238E27FC236}">
                  <a16:creationId xmlns:a16="http://schemas.microsoft.com/office/drawing/2014/main" id="{938F2AEC-2C44-E69B-6C19-9FAE398FAD50}"/>
                </a:ext>
              </a:extLst>
            </p:cNvPr>
            <p:cNvSpPr/>
            <p:nvPr/>
          </p:nvSpPr>
          <p:spPr>
            <a:xfrm>
              <a:off x="8958052" y="4501672"/>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4"/>
                    <a:pt x="71567" y="6384"/>
                  </a:cubicBezTo>
                  <a:cubicBezTo>
                    <a:pt x="71567" y="2553"/>
                    <a:pt x="69011" y="0"/>
                    <a:pt x="65177" y="0"/>
                  </a:cubicBezTo>
                  <a:lnTo>
                    <a:pt x="6390" y="0"/>
                  </a:lnTo>
                  <a:cubicBezTo>
                    <a:pt x="2556" y="0"/>
                    <a:pt x="0" y="2553"/>
                    <a:pt x="0" y="6384"/>
                  </a:cubicBezTo>
                  <a:cubicBezTo>
                    <a:pt x="0" y="10214"/>
                    <a:pt x="2556" y="12768"/>
                    <a:pt x="6390" y="12768"/>
                  </a:cubicBezTo>
                  <a:close/>
                </a:path>
              </a:pathLst>
            </a:custGeom>
            <a:grpFill/>
            <a:ln w="6390" cap="flat">
              <a:noFill/>
              <a:prstDash val="solid"/>
              <a:miter/>
            </a:ln>
          </p:spPr>
          <p:txBody>
            <a:bodyPr rtlCol="0" anchor="ctr"/>
            <a:lstStyle/>
            <a:p>
              <a:endParaRPr lang="en-US"/>
            </a:p>
          </p:txBody>
        </p:sp>
        <p:sp>
          <p:nvSpPr>
            <p:cNvPr id="81" name="Graphic 1100">
              <a:extLst>
                <a:ext uri="{FF2B5EF4-FFF2-40B4-BE49-F238E27FC236}">
                  <a16:creationId xmlns:a16="http://schemas.microsoft.com/office/drawing/2014/main" id="{BDB8F906-91CB-951C-593E-947C2F1DC755}"/>
                </a:ext>
              </a:extLst>
            </p:cNvPr>
            <p:cNvSpPr/>
            <p:nvPr/>
          </p:nvSpPr>
          <p:spPr>
            <a:xfrm>
              <a:off x="8958052" y="4472305"/>
              <a:ext cx="71566" cy="12767"/>
            </a:xfrm>
            <a:custGeom>
              <a:avLst/>
              <a:gdLst>
                <a:gd name="connsiteX0" fmla="*/ 6390 w 71566"/>
                <a:gd name="connsiteY0" fmla="*/ 12768 h 12767"/>
                <a:gd name="connsiteX1" fmla="*/ 65177 w 71566"/>
                <a:gd name="connsiteY1" fmla="*/ 12768 h 12767"/>
                <a:gd name="connsiteX2" fmla="*/ 71567 w 71566"/>
                <a:gd name="connsiteY2" fmla="*/ 6384 h 12767"/>
                <a:gd name="connsiteX3" fmla="*/ 65177 w 71566"/>
                <a:gd name="connsiteY3" fmla="*/ 0 h 12767"/>
                <a:gd name="connsiteX4" fmla="*/ 6390 w 71566"/>
                <a:gd name="connsiteY4" fmla="*/ 0 h 12767"/>
                <a:gd name="connsiteX5" fmla="*/ 0 w 71566"/>
                <a:gd name="connsiteY5" fmla="*/ 6384 h 12767"/>
                <a:gd name="connsiteX6" fmla="*/ 6390 w 71566"/>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66" h="12767">
                  <a:moveTo>
                    <a:pt x="6390" y="12768"/>
                  </a:moveTo>
                  <a:lnTo>
                    <a:pt x="65177" y="12768"/>
                  </a:lnTo>
                  <a:cubicBezTo>
                    <a:pt x="69011" y="12768"/>
                    <a:pt x="71567" y="10215"/>
                    <a:pt x="71567" y="6384"/>
                  </a:cubicBezTo>
                  <a:cubicBezTo>
                    <a:pt x="71567" y="2554"/>
                    <a:pt x="69011" y="0"/>
                    <a:pt x="65177" y="0"/>
                  </a:cubicBezTo>
                  <a:lnTo>
                    <a:pt x="6390" y="0"/>
                  </a:lnTo>
                  <a:cubicBezTo>
                    <a:pt x="2556" y="0"/>
                    <a:pt x="0" y="2554"/>
                    <a:pt x="0" y="6384"/>
                  </a:cubicBezTo>
                  <a:cubicBezTo>
                    <a:pt x="0" y="10215"/>
                    <a:pt x="2556" y="12768"/>
                    <a:pt x="6390" y="12768"/>
                  </a:cubicBezTo>
                  <a:close/>
                </a:path>
              </a:pathLst>
            </a:custGeom>
            <a:grpFill/>
            <a:ln w="6390" cap="flat">
              <a:noFill/>
              <a:prstDash val="solid"/>
              <a:miter/>
            </a:ln>
          </p:spPr>
          <p:txBody>
            <a:bodyPr rtlCol="0" anchor="ctr"/>
            <a:lstStyle/>
            <a:p>
              <a:endParaRPr lang="en-US"/>
            </a:p>
          </p:txBody>
        </p:sp>
      </p:grpSp>
      <p:sp>
        <p:nvSpPr>
          <p:cNvPr id="82" name="Rectangle 81">
            <a:extLst>
              <a:ext uri="{FF2B5EF4-FFF2-40B4-BE49-F238E27FC236}">
                <a16:creationId xmlns:a16="http://schemas.microsoft.com/office/drawing/2014/main" id="{BC63A7D7-924F-BA42-CC60-D2C9BB03B2E7}"/>
              </a:ext>
            </a:extLst>
          </p:cNvPr>
          <p:cNvSpPr/>
          <p:nvPr/>
        </p:nvSpPr>
        <p:spPr bwMode="gray">
          <a:xfrm>
            <a:off x="7970435" y="1390254"/>
            <a:ext cx="3493063" cy="2422571"/>
          </a:xfrm>
          <a:prstGeom prst="rect">
            <a:avLst/>
          </a:prstGeom>
          <a:noFill/>
          <a:ln w="25400" cap="flat" cmpd="sng" algn="ctr">
            <a:noFill/>
            <a:prstDash val="solid"/>
            <a:headEnd/>
            <a:tailEnd/>
          </a:ln>
          <a:effectLst/>
        </p:spPr>
        <p:txBody>
          <a:bodyPr wrap="square" lIns="171386" tIns="85693" rIns="85693" bIns="0" rtlCol="0" anchor="t"/>
          <a:lstStyle/>
          <a:p>
            <a:pPr marL="0" marR="0" lvl="0" indent="0" algn="ctr" defTabSz="671718" rtl="0" eaLnBrk="1" fontAlgn="base" latinLnBrk="0" hangingPunct="1">
              <a:spcBef>
                <a:spcPct val="0"/>
              </a:spcBef>
              <a:spcAft>
                <a:spcPts val="4200"/>
              </a:spcAft>
              <a:buClrTx/>
              <a:buSzTx/>
              <a:buFontTx/>
              <a:buNone/>
              <a:tabLst/>
              <a:defRPr/>
            </a:pPr>
            <a:r>
              <a:rPr kumimoji="0" lang="en-US" sz="2645" b="1" i="0" u="none" strike="noStrike" kern="0" spc="0" normalizeH="0" noProof="0">
                <a:ln>
                  <a:noFill/>
                </a:ln>
                <a:solidFill>
                  <a:prstClr val="black"/>
                </a:solidFill>
                <a:effectLst/>
                <a:uLnTx/>
                <a:uFillTx/>
                <a:ea typeface="+mn-ea"/>
                <a:cs typeface="+mn-cs"/>
                <a:sym typeface="Gotham Book" charset="0"/>
              </a:rPr>
              <a:t>STEP Budget Sheet</a:t>
            </a:r>
            <a:endParaRPr kumimoji="0" lang="en-US" sz="1312" b="0" i="0" u="none" strike="noStrike" kern="0" spc="0" normalizeH="0" noProof="0">
              <a:ln>
                <a:noFill/>
              </a:ln>
              <a:solidFill>
                <a:prstClr val="black"/>
              </a:solidFill>
              <a:effectLst/>
              <a:uLnTx/>
              <a:uFillTx/>
              <a:ea typeface="+mn-ea"/>
              <a:cs typeface="+mn-cs"/>
              <a:sym typeface="Gotham Book" charset="0"/>
            </a:endParaRPr>
          </a:p>
          <a:p>
            <a:pPr marL="0" marR="0" lvl="0" indent="0" algn="ctr" defTabSz="671718" rtl="0" eaLnBrk="1" fontAlgn="base" latinLnBrk="0" hangingPunct="1">
              <a:lnSpc>
                <a:spcPct val="106000"/>
              </a:lnSpc>
              <a:spcBef>
                <a:spcPct val="0"/>
              </a:spcBef>
              <a:spcAft>
                <a:spcPct val="0"/>
              </a:spcAft>
              <a:buClrTx/>
              <a:buSzTx/>
              <a:buFontTx/>
              <a:buNone/>
              <a:tabLst/>
              <a:defRPr/>
            </a:pPr>
            <a:r>
              <a:rPr lang="en-US" sz="1600" kern="0">
                <a:solidFill>
                  <a:prstClr val="black"/>
                </a:solidFill>
                <a:sym typeface="Gotham Book" charset="0"/>
              </a:rPr>
              <a:t>P</a:t>
            </a:r>
            <a:r>
              <a:rPr kumimoji="0" lang="en-US" sz="1600" b="0" i="0" u="none" strike="noStrike" kern="0" cap="none" spc="0" normalizeH="0" baseline="0" noProof="0" err="1">
                <a:ln>
                  <a:noFill/>
                </a:ln>
                <a:solidFill>
                  <a:prstClr val="black"/>
                </a:solidFill>
                <a:effectLst/>
                <a:uLnTx/>
                <a:uFillTx/>
                <a:ea typeface="+mn-ea"/>
                <a:cs typeface="+mn-cs"/>
                <a:sym typeface="Gotham Book" charset="0"/>
              </a:rPr>
              <a:t>roviders</a:t>
            </a:r>
            <a:r>
              <a:rPr kumimoji="0" lang="en-US" sz="1600" b="0" i="0" u="none" strike="noStrike" kern="0" cap="none" spc="0" normalizeH="0" baseline="0" noProof="0">
                <a:ln>
                  <a:noFill/>
                </a:ln>
                <a:solidFill>
                  <a:prstClr val="black"/>
                </a:solidFill>
                <a:effectLst/>
                <a:uLnTx/>
                <a:uFillTx/>
                <a:ea typeface="+mn-ea"/>
                <a:cs typeface="+mn-cs"/>
                <a:sym typeface="Gotham Book" charset="0"/>
              </a:rPr>
              <a:t> will complete a STEP Budget that indicates the </a:t>
            </a:r>
            <a:r>
              <a:rPr kumimoji="0" lang="en-US" sz="1600" b="1" i="0" u="none" strike="noStrike" kern="0" cap="none" spc="0" normalizeH="0" baseline="0" noProof="0">
                <a:ln>
                  <a:noFill/>
                </a:ln>
                <a:solidFill>
                  <a:schemeClr val="accent4"/>
                </a:solidFill>
                <a:effectLst/>
                <a:uLnTx/>
                <a:uFillTx/>
                <a:ea typeface="+mn-ea"/>
                <a:cs typeface="+mn-cs"/>
                <a:sym typeface="Gotham Book" charset="0"/>
              </a:rPr>
              <a:t>current and target funding rates for settings</a:t>
            </a:r>
            <a:r>
              <a:rPr kumimoji="0" lang="en-US" sz="1600" b="0" i="0" u="none" strike="noStrike" kern="0" cap="none" spc="0" normalizeH="0" baseline="0" noProof="0">
                <a:ln>
                  <a:noFill/>
                </a:ln>
                <a:solidFill>
                  <a:prstClr val="black"/>
                </a:solidFill>
                <a:effectLst/>
                <a:uLnTx/>
                <a:uFillTx/>
                <a:ea typeface="+mn-ea"/>
                <a:cs typeface="+mn-cs"/>
                <a:sym typeface="Gotham Book" charset="0"/>
              </a:rPr>
              <a:t>, among other key data points. This tool summarizes potential incentive payouts and allows providers to </a:t>
            </a:r>
            <a:r>
              <a:rPr kumimoji="0" lang="en-US" sz="1600" b="1" i="0" u="none" strike="noStrike" kern="0" cap="none" spc="0" normalizeH="0" baseline="0" noProof="0">
                <a:ln>
                  <a:noFill/>
                </a:ln>
                <a:solidFill>
                  <a:schemeClr val="accent4"/>
                </a:solidFill>
                <a:effectLst/>
                <a:uLnTx/>
                <a:uFillTx/>
                <a:ea typeface="+mn-ea"/>
                <a:cs typeface="+mn-cs"/>
                <a:sym typeface="Gotham Book" charset="0"/>
              </a:rPr>
              <a:t>request one-time payments and additional funding </a:t>
            </a:r>
            <a:r>
              <a:rPr kumimoji="0" lang="en-US" sz="1600" b="0" i="0" u="none" strike="noStrike" kern="0" cap="none" spc="0" normalizeH="0" baseline="0" noProof="0">
                <a:ln>
                  <a:noFill/>
                </a:ln>
                <a:solidFill>
                  <a:prstClr val="black"/>
                </a:solidFill>
                <a:effectLst/>
                <a:uLnTx/>
                <a:uFillTx/>
                <a:ea typeface="+mn-ea"/>
                <a:cs typeface="+mn-cs"/>
                <a:sym typeface="Gotham Book" charset="0"/>
              </a:rPr>
              <a:t>for transition program costs.</a:t>
            </a:r>
          </a:p>
        </p:txBody>
      </p:sp>
      <p:sp>
        <p:nvSpPr>
          <p:cNvPr id="84" name="Graphic 1100">
            <a:extLst>
              <a:ext uri="{FF2B5EF4-FFF2-40B4-BE49-F238E27FC236}">
                <a16:creationId xmlns:a16="http://schemas.microsoft.com/office/drawing/2014/main" id="{1B488118-A983-F31A-1C8C-BCF8F54BB5A8}"/>
              </a:ext>
            </a:extLst>
          </p:cNvPr>
          <p:cNvSpPr/>
          <p:nvPr/>
        </p:nvSpPr>
        <p:spPr>
          <a:xfrm>
            <a:off x="9088320" y="4942547"/>
            <a:ext cx="1496974" cy="1495577"/>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6 w 362309"/>
              <a:gd name="connsiteY8" fmla="*/ 12768 h 361971"/>
              <a:gd name="connsiteX9" fmla="*/ 349530 w 362309"/>
              <a:gd name="connsiteY9" fmla="*/ 180667 h 361971"/>
              <a:gd name="connsiteX10" fmla="*/ 349530 w 362309"/>
              <a:gd name="connsiteY10" fmla="*/ 180667 h 361971"/>
              <a:gd name="connsiteX11" fmla="*/ 181474 w 362309"/>
              <a:gd name="connsiteY11" fmla="*/ 349204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3" y="0"/>
                  <a:pt x="0" y="81077"/>
                  <a:pt x="0" y="180667"/>
                </a:cubicBezTo>
                <a:cubicBezTo>
                  <a:pt x="0" y="280895"/>
                  <a:pt x="81153" y="361972"/>
                  <a:pt x="180836" y="361972"/>
                </a:cubicBezTo>
                <a:cubicBezTo>
                  <a:pt x="281157" y="361972"/>
                  <a:pt x="362310" y="280895"/>
                  <a:pt x="362310" y="181305"/>
                </a:cubicBezTo>
                <a:cubicBezTo>
                  <a:pt x="362310" y="181305"/>
                  <a:pt x="362310" y="181305"/>
                  <a:pt x="362310" y="181305"/>
                </a:cubicBezTo>
                <a:cubicBezTo>
                  <a:pt x="362310" y="81077"/>
                  <a:pt x="281157" y="0"/>
                  <a:pt x="181474" y="0"/>
                </a:cubicBezTo>
                <a:close/>
                <a:moveTo>
                  <a:pt x="181474" y="349204"/>
                </a:moveTo>
                <a:cubicBezTo>
                  <a:pt x="88181" y="349204"/>
                  <a:pt x="12780" y="273873"/>
                  <a:pt x="12780" y="181305"/>
                </a:cubicBezTo>
                <a:cubicBezTo>
                  <a:pt x="12780" y="88099"/>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lnTo>
                  <a:pt x="181474" y="349204"/>
                </a:lnTo>
                <a:close/>
              </a:path>
            </a:pathLst>
          </a:custGeom>
          <a:solidFill>
            <a:schemeClr val="accent4"/>
          </a:solidFill>
          <a:ln w="6390" cap="flat">
            <a:noFill/>
            <a:prstDash val="solid"/>
            <a:miter/>
          </a:ln>
        </p:spPr>
        <p:txBody>
          <a:bodyPr rtlCol="0" anchor="ctr"/>
          <a:lstStyle/>
          <a:p>
            <a:endParaRPr lang="en-US"/>
          </a:p>
        </p:txBody>
      </p:sp>
      <p:grpSp>
        <p:nvGrpSpPr>
          <p:cNvPr id="92" name="Graphic 1100">
            <a:extLst>
              <a:ext uri="{FF2B5EF4-FFF2-40B4-BE49-F238E27FC236}">
                <a16:creationId xmlns:a16="http://schemas.microsoft.com/office/drawing/2014/main" id="{AF602524-675C-2F7C-34E2-973D8F579745}"/>
              </a:ext>
            </a:extLst>
          </p:cNvPr>
          <p:cNvGrpSpPr/>
          <p:nvPr/>
        </p:nvGrpSpPr>
        <p:grpSpPr>
          <a:xfrm>
            <a:off x="1328423" y="4942547"/>
            <a:ext cx="1496974" cy="1495577"/>
            <a:chOff x="4661459" y="3828162"/>
            <a:chExt cx="362313" cy="361971"/>
          </a:xfrm>
          <a:solidFill>
            <a:schemeClr val="accent1"/>
          </a:solidFill>
        </p:grpSpPr>
        <p:sp>
          <p:nvSpPr>
            <p:cNvPr id="93" name="Graphic 1100">
              <a:extLst>
                <a:ext uri="{FF2B5EF4-FFF2-40B4-BE49-F238E27FC236}">
                  <a16:creationId xmlns:a16="http://schemas.microsoft.com/office/drawing/2014/main" id="{E3674A35-54D1-AF8C-20C2-3295121FD66B}"/>
                </a:ext>
              </a:extLst>
            </p:cNvPr>
            <p:cNvSpPr/>
            <p:nvPr/>
          </p:nvSpPr>
          <p:spPr>
            <a:xfrm>
              <a:off x="4661459" y="3828162"/>
              <a:ext cx="362313" cy="361971"/>
            </a:xfrm>
            <a:custGeom>
              <a:avLst/>
              <a:gdLst>
                <a:gd name="connsiteX0" fmla="*/ 181474 w 362313"/>
                <a:gd name="connsiteY0" fmla="*/ 0 h 361971"/>
                <a:gd name="connsiteX1" fmla="*/ 0 w 362313"/>
                <a:gd name="connsiteY1" fmla="*/ 180667 h 361971"/>
                <a:gd name="connsiteX2" fmla="*/ 180835 w 362313"/>
                <a:gd name="connsiteY2" fmla="*/ 361971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30 w 362313"/>
                <a:gd name="connsiteY9" fmla="*/ 180667 h 361971"/>
                <a:gd name="connsiteX10" fmla="*/ 349530 w 362313"/>
                <a:gd name="connsiteY10" fmla="*/ 180667 h 361971"/>
                <a:gd name="connsiteX11" fmla="*/ 181474 w 362313"/>
                <a:gd name="connsiteY11" fmla="*/ 349204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6"/>
                    <a:pt x="0" y="180667"/>
                  </a:cubicBezTo>
                  <a:cubicBezTo>
                    <a:pt x="0" y="280257"/>
                    <a:pt x="81152" y="361971"/>
                    <a:pt x="180835" y="361971"/>
                  </a:cubicBezTo>
                  <a:cubicBezTo>
                    <a:pt x="280518" y="361971"/>
                    <a:pt x="362310" y="280895"/>
                    <a:pt x="362310" y="181305"/>
                  </a:cubicBezTo>
                  <a:lnTo>
                    <a:pt x="362310" y="181305"/>
                  </a:lnTo>
                  <a:cubicBezTo>
                    <a:pt x="362948" y="81076"/>
                    <a:pt x="281796" y="0"/>
                    <a:pt x="181474" y="0"/>
                  </a:cubicBezTo>
                  <a:close/>
                  <a:moveTo>
                    <a:pt x="181474" y="349204"/>
                  </a:moveTo>
                  <a:cubicBezTo>
                    <a:pt x="88181" y="349204"/>
                    <a:pt x="12780" y="273873"/>
                    <a:pt x="12780" y="181305"/>
                  </a:cubicBezTo>
                  <a:cubicBezTo>
                    <a:pt x="12780" y="88737"/>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endParaRPr lang="en-US"/>
            </a:p>
          </p:txBody>
        </p:sp>
        <p:sp>
          <p:nvSpPr>
            <p:cNvPr id="94" name="Graphic 1100">
              <a:extLst>
                <a:ext uri="{FF2B5EF4-FFF2-40B4-BE49-F238E27FC236}">
                  <a16:creationId xmlns:a16="http://schemas.microsoft.com/office/drawing/2014/main" id="{BBD1C311-7A95-27E7-83C1-544EF3D80387}"/>
                </a:ext>
              </a:extLst>
            </p:cNvPr>
            <p:cNvSpPr/>
            <p:nvPr/>
          </p:nvSpPr>
          <p:spPr>
            <a:xfrm>
              <a:off x="4766795" y="3899662"/>
              <a:ext cx="160485" cy="218970"/>
            </a:xfrm>
            <a:custGeom>
              <a:avLst/>
              <a:gdLst>
                <a:gd name="connsiteX0" fmla="*/ 158568 w 160485"/>
                <a:gd name="connsiteY0" fmla="*/ 45327 h 218970"/>
                <a:gd name="connsiteX1" fmla="*/ 115117 w 160485"/>
                <a:gd name="connsiteY1" fmla="*/ 1916 h 218970"/>
                <a:gd name="connsiteX2" fmla="*/ 113200 w 160485"/>
                <a:gd name="connsiteY2" fmla="*/ 639 h 218970"/>
                <a:gd name="connsiteX3" fmla="*/ 111283 w 160485"/>
                <a:gd name="connsiteY3" fmla="*/ 0 h 218970"/>
                <a:gd name="connsiteX4" fmla="*/ 6488 w 160485"/>
                <a:gd name="connsiteY4" fmla="*/ 0 h 218970"/>
                <a:gd name="connsiteX5" fmla="*/ 98 w 160485"/>
                <a:gd name="connsiteY5" fmla="*/ 6384 h 218970"/>
                <a:gd name="connsiteX6" fmla="*/ 98 w 160485"/>
                <a:gd name="connsiteY6" fmla="*/ 140448 h 218970"/>
                <a:gd name="connsiteX7" fmla="*/ 6488 w 160485"/>
                <a:gd name="connsiteY7" fmla="*/ 146832 h 218970"/>
                <a:gd name="connsiteX8" fmla="*/ 12878 w 160485"/>
                <a:gd name="connsiteY8" fmla="*/ 140448 h 218970"/>
                <a:gd name="connsiteX9" fmla="*/ 12878 w 160485"/>
                <a:gd name="connsiteY9" fmla="*/ 12768 h 218970"/>
                <a:gd name="connsiteX10" fmla="*/ 104893 w 160485"/>
                <a:gd name="connsiteY10" fmla="*/ 12768 h 218970"/>
                <a:gd name="connsiteX11" fmla="*/ 104893 w 160485"/>
                <a:gd name="connsiteY11" fmla="*/ 49795 h 218970"/>
                <a:gd name="connsiteX12" fmla="*/ 111283 w 160485"/>
                <a:gd name="connsiteY12" fmla="*/ 56179 h 218970"/>
                <a:gd name="connsiteX13" fmla="*/ 148344 w 160485"/>
                <a:gd name="connsiteY13" fmla="*/ 56179 h 218970"/>
                <a:gd name="connsiteX14" fmla="*/ 148344 w 160485"/>
                <a:gd name="connsiteY14" fmla="*/ 206203 h 218970"/>
                <a:gd name="connsiteX15" fmla="*/ 12878 w 160485"/>
                <a:gd name="connsiteY15" fmla="*/ 206203 h 218970"/>
                <a:gd name="connsiteX16" fmla="*/ 5849 w 160485"/>
                <a:gd name="connsiteY16" fmla="*/ 200457 h 218970"/>
                <a:gd name="connsiteX17" fmla="*/ 98 w 160485"/>
                <a:gd name="connsiteY17" fmla="*/ 207479 h 218970"/>
                <a:gd name="connsiteX18" fmla="*/ 98 w 160485"/>
                <a:gd name="connsiteY18" fmla="*/ 212587 h 218970"/>
                <a:gd name="connsiteX19" fmla="*/ 6488 w 160485"/>
                <a:gd name="connsiteY19" fmla="*/ 218971 h 218970"/>
                <a:gd name="connsiteX20" fmla="*/ 154095 w 160485"/>
                <a:gd name="connsiteY20" fmla="*/ 218971 h 218970"/>
                <a:gd name="connsiteX21" fmla="*/ 160485 w 160485"/>
                <a:gd name="connsiteY21" fmla="*/ 212587 h 218970"/>
                <a:gd name="connsiteX22" fmla="*/ 160485 w 160485"/>
                <a:gd name="connsiteY22" fmla="*/ 49795 h 218970"/>
                <a:gd name="connsiteX23" fmla="*/ 159846 w 160485"/>
                <a:gd name="connsiteY23" fmla="*/ 47242 h 218970"/>
                <a:gd name="connsiteX24" fmla="*/ 158568 w 160485"/>
                <a:gd name="connsiteY24" fmla="*/ 45327 h 218970"/>
                <a:gd name="connsiteX25" fmla="*/ 117034 w 160485"/>
                <a:gd name="connsiteY25" fmla="*/ 21706 h 218970"/>
                <a:gd name="connsiteX26" fmla="*/ 138760 w 160485"/>
                <a:gd name="connsiteY26" fmla="*/ 43411 h 218970"/>
                <a:gd name="connsiteX27" fmla="*/ 117034 w 160485"/>
                <a:gd name="connsiteY27" fmla="*/ 43411 h 218970"/>
                <a:gd name="connsiteX28" fmla="*/ 117034 w 160485"/>
                <a:gd name="connsiteY28" fmla="*/ 21706 h 21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0485" h="218970">
                  <a:moveTo>
                    <a:pt x="158568" y="45327"/>
                  </a:moveTo>
                  <a:lnTo>
                    <a:pt x="115117" y="1916"/>
                  </a:lnTo>
                  <a:cubicBezTo>
                    <a:pt x="114478" y="1277"/>
                    <a:pt x="113839" y="639"/>
                    <a:pt x="113200" y="639"/>
                  </a:cubicBezTo>
                  <a:cubicBezTo>
                    <a:pt x="112561" y="639"/>
                    <a:pt x="111922" y="0"/>
                    <a:pt x="111283" y="0"/>
                  </a:cubicBezTo>
                  <a:lnTo>
                    <a:pt x="6488" y="0"/>
                  </a:lnTo>
                  <a:cubicBezTo>
                    <a:pt x="2654" y="0"/>
                    <a:pt x="98" y="2554"/>
                    <a:pt x="98" y="6384"/>
                  </a:cubicBezTo>
                  <a:lnTo>
                    <a:pt x="98" y="140448"/>
                  </a:lnTo>
                  <a:cubicBezTo>
                    <a:pt x="98" y="144278"/>
                    <a:pt x="2654" y="146832"/>
                    <a:pt x="6488" y="146832"/>
                  </a:cubicBezTo>
                  <a:cubicBezTo>
                    <a:pt x="10322" y="146832"/>
                    <a:pt x="12878" y="144278"/>
                    <a:pt x="12878" y="140448"/>
                  </a:cubicBezTo>
                  <a:lnTo>
                    <a:pt x="12878" y="12768"/>
                  </a:lnTo>
                  <a:lnTo>
                    <a:pt x="104893" y="12768"/>
                  </a:lnTo>
                  <a:lnTo>
                    <a:pt x="104893" y="49795"/>
                  </a:lnTo>
                  <a:cubicBezTo>
                    <a:pt x="104893" y="53626"/>
                    <a:pt x="107449" y="56179"/>
                    <a:pt x="111283" y="56179"/>
                  </a:cubicBezTo>
                  <a:lnTo>
                    <a:pt x="148344" y="56179"/>
                  </a:lnTo>
                  <a:lnTo>
                    <a:pt x="148344" y="206203"/>
                  </a:lnTo>
                  <a:lnTo>
                    <a:pt x="12878" y="206203"/>
                  </a:lnTo>
                  <a:cubicBezTo>
                    <a:pt x="12878" y="202372"/>
                    <a:pt x="9683" y="199819"/>
                    <a:pt x="5849" y="200457"/>
                  </a:cubicBezTo>
                  <a:cubicBezTo>
                    <a:pt x="2015" y="200457"/>
                    <a:pt x="-541" y="203649"/>
                    <a:pt x="98" y="207479"/>
                  </a:cubicBezTo>
                  <a:lnTo>
                    <a:pt x="98" y="212587"/>
                  </a:lnTo>
                  <a:cubicBezTo>
                    <a:pt x="98" y="216417"/>
                    <a:pt x="2654" y="218971"/>
                    <a:pt x="6488" y="218971"/>
                  </a:cubicBezTo>
                  <a:lnTo>
                    <a:pt x="154095" y="218971"/>
                  </a:lnTo>
                  <a:cubicBezTo>
                    <a:pt x="157929" y="218971"/>
                    <a:pt x="160485" y="216417"/>
                    <a:pt x="160485" y="212587"/>
                  </a:cubicBezTo>
                  <a:lnTo>
                    <a:pt x="160485" y="49795"/>
                  </a:lnTo>
                  <a:cubicBezTo>
                    <a:pt x="160485" y="49157"/>
                    <a:pt x="159846" y="47880"/>
                    <a:pt x="159846" y="47242"/>
                  </a:cubicBezTo>
                  <a:cubicBezTo>
                    <a:pt x="159846" y="46603"/>
                    <a:pt x="159207" y="45965"/>
                    <a:pt x="158568" y="45327"/>
                  </a:cubicBezTo>
                  <a:close/>
                  <a:moveTo>
                    <a:pt x="117034" y="21706"/>
                  </a:moveTo>
                  <a:lnTo>
                    <a:pt x="138760" y="43411"/>
                  </a:lnTo>
                  <a:lnTo>
                    <a:pt x="117034" y="43411"/>
                  </a:lnTo>
                  <a:lnTo>
                    <a:pt x="117034" y="21706"/>
                  </a:lnTo>
                  <a:close/>
                </a:path>
              </a:pathLst>
            </a:custGeom>
            <a:grpFill/>
            <a:ln w="6390" cap="flat">
              <a:noFill/>
              <a:prstDash val="solid"/>
              <a:miter/>
            </a:ln>
          </p:spPr>
          <p:txBody>
            <a:bodyPr rtlCol="0" anchor="ctr"/>
            <a:lstStyle/>
            <a:p>
              <a:endParaRPr lang="en-US"/>
            </a:p>
          </p:txBody>
        </p:sp>
        <p:sp>
          <p:nvSpPr>
            <p:cNvPr id="95" name="Graphic 1100">
              <a:extLst>
                <a:ext uri="{FF2B5EF4-FFF2-40B4-BE49-F238E27FC236}">
                  <a16:creationId xmlns:a16="http://schemas.microsoft.com/office/drawing/2014/main" id="{A068D207-E904-49C2-AF8F-ADAFCEF8AC4D}"/>
                </a:ext>
              </a:extLst>
            </p:cNvPr>
            <p:cNvSpPr/>
            <p:nvPr/>
          </p:nvSpPr>
          <p:spPr>
            <a:xfrm>
              <a:off x="4760503" y="3971163"/>
              <a:ext cx="120391" cy="121295"/>
            </a:xfrm>
            <a:custGeom>
              <a:avLst/>
              <a:gdLst>
                <a:gd name="connsiteX0" fmla="*/ 15975 w 120391"/>
                <a:gd name="connsiteY0" fmla="*/ 121296 h 121295"/>
                <a:gd name="connsiteX1" fmla="*/ 20448 w 120391"/>
                <a:gd name="connsiteY1" fmla="*/ 119380 h 121295"/>
                <a:gd name="connsiteX2" fmla="*/ 49202 w 120391"/>
                <a:gd name="connsiteY2" fmla="*/ 90653 h 121295"/>
                <a:gd name="connsiteX3" fmla="*/ 49202 w 120391"/>
                <a:gd name="connsiteY3" fmla="*/ 81715 h 121295"/>
                <a:gd name="connsiteX4" fmla="*/ 48563 w 120391"/>
                <a:gd name="connsiteY4" fmla="*/ 81077 h 121295"/>
                <a:gd name="connsiteX5" fmla="*/ 58148 w 120391"/>
                <a:gd name="connsiteY5" fmla="*/ 71501 h 121295"/>
                <a:gd name="connsiteX6" fmla="*/ 113102 w 120391"/>
                <a:gd name="connsiteY6" fmla="*/ 61925 h 121295"/>
                <a:gd name="connsiteX7" fmla="*/ 109268 w 120391"/>
                <a:gd name="connsiteY7" fmla="*/ 11491 h 121295"/>
                <a:gd name="connsiteX8" fmla="*/ 53676 w 120391"/>
                <a:gd name="connsiteY8" fmla="*/ 11491 h 121295"/>
                <a:gd name="connsiteX9" fmla="*/ 42173 w 120391"/>
                <a:gd name="connsiteY9" fmla="*/ 39581 h 121295"/>
                <a:gd name="connsiteX10" fmla="*/ 49841 w 120391"/>
                <a:gd name="connsiteY10" fmla="*/ 62563 h 121295"/>
                <a:gd name="connsiteX11" fmla="*/ 40256 w 120391"/>
                <a:gd name="connsiteY11" fmla="*/ 72139 h 121295"/>
                <a:gd name="connsiteX12" fmla="*/ 39618 w 120391"/>
                <a:gd name="connsiteY12" fmla="*/ 71501 h 121295"/>
                <a:gd name="connsiteX13" fmla="*/ 35145 w 120391"/>
                <a:gd name="connsiteY13" fmla="*/ 69585 h 121295"/>
                <a:gd name="connsiteX14" fmla="*/ 30672 w 120391"/>
                <a:gd name="connsiteY14" fmla="*/ 71501 h 121295"/>
                <a:gd name="connsiteX15" fmla="*/ 1917 w 120391"/>
                <a:gd name="connsiteY15" fmla="*/ 100229 h 121295"/>
                <a:gd name="connsiteX16" fmla="*/ 1917 w 120391"/>
                <a:gd name="connsiteY16" fmla="*/ 109166 h 121295"/>
                <a:gd name="connsiteX17" fmla="*/ 12780 w 120391"/>
                <a:gd name="connsiteY17" fmla="*/ 120019 h 121295"/>
                <a:gd name="connsiteX18" fmla="*/ 15975 w 120391"/>
                <a:gd name="connsiteY18" fmla="*/ 121296 h 121295"/>
                <a:gd name="connsiteX19" fmla="*/ 61343 w 120391"/>
                <a:gd name="connsiteY19" fmla="*/ 21067 h 121295"/>
                <a:gd name="connsiteX20" fmla="*/ 99044 w 120391"/>
                <a:gd name="connsiteY20" fmla="*/ 21067 h 121295"/>
                <a:gd name="connsiteX21" fmla="*/ 99044 w 120391"/>
                <a:gd name="connsiteY21" fmla="*/ 58733 h 121295"/>
                <a:gd name="connsiteX22" fmla="*/ 61343 w 120391"/>
                <a:gd name="connsiteY22" fmla="*/ 58733 h 121295"/>
                <a:gd name="connsiteX23" fmla="*/ 53676 w 120391"/>
                <a:gd name="connsiteY23" fmla="*/ 39581 h 121295"/>
                <a:gd name="connsiteX24" fmla="*/ 61343 w 120391"/>
                <a:gd name="connsiteY24" fmla="*/ 21067 h 121295"/>
                <a:gd name="connsiteX25" fmla="*/ 33228 w 120391"/>
                <a:gd name="connsiteY25" fmla="*/ 84907 h 121295"/>
                <a:gd name="connsiteX26" fmla="*/ 33866 w 120391"/>
                <a:gd name="connsiteY26" fmla="*/ 85545 h 121295"/>
                <a:gd name="connsiteX27" fmla="*/ 33866 w 120391"/>
                <a:gd name="connsiteY27" fmla="*/ 85545 h 121295"/>
                <a:gd name="connsiteX28" fmla="*/ 34506 w 120391"/>
                <a:gd name="connsiteY28" fmla="*/ 86184 h 121295"/>
                <a:gd name="connsiteX29" fmla="*/ 15336 w 120391"/>
                <a:gd name="connsiteY29" fmla="*/ 105336 h 121295"/>
                <a:gd name="connsiteX30" fmla="*/ 13419 w 120391"/>
                <a:gd name="connsiteY30" fmla="*/ 103420 h 121295"/>
                <a:gd name="connsiteX31" fmla="*/ 33228 w 120391"/>
                <a:gd name="connsiteY31" fmla="*/ 84907 h 121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0391" h="121295">
                  <a:moveTo>
                    <a:pt x="15975" y="121296"/>
                  </a:moveTo>
                  <a:cubicBezTo>
                    <a:pt x="17892" y="121296"/>
                    <a:pt x="19170" y="120657"/>
                    <a:pt x="20448" y="119380"/>
                  </a:cubicBezTo>
                  <a:lnTo>
                    <a:pt x="49202" y="90653"/>
                  </a:lnTo>
                  <a:cubicBezTo>
                    <a:pt x="51758" y="88099"/>
                    <a:pt x="51758" y="84269"/>
                    <a:pt x="49202" y="81715"/>
                  </a:cubicBezTo>
                  <a:lnTo>
                    <a:pt x="48563" y="81077"/>
                  </a:lnTo>
                  <a:lnTo>
                    <a:pt x="58148" y="71501"/>
                  </a:lnTo>
                  <a:cubicBezTo>
                    <a:pt x="76040" y="84269"/>
                    <a:pt x="100322" y="79800"/>
                    <a:pt x="113102" y="61925"/>
                  </a:cubicBezTo>
                  <a:cubicBezTo>
                    <a:pt x="123965" y="46603"/>
                    <a:pt x="122687" y="24898"/>
                    <a:pt x="109268" y="11491"/>
                  </a:cubicBezTo>
                  <a:cubicBezTo>
                    <a:pt x="93932" y="-3830"/>
                    <a:pt x="69011" y="-3830"/>
                    <a:pt x="53676" y="11491"/>
                  </a:cubicBezTo>
                  <a:cubicBezTo>
                    <a:pt x="46008" y="19152"/>
                    <a:pt x="42173" y="28728"/>
                    <a:pt x="42173" y="39581"/>
                  </a:cubicBezTo>
                  <a:cubicBezTo>
                    <a:pt x="42173" y="47880"/>
                    <a:pt x="44729" y="55541"/>
                    <a:pt x="49841" y="62563"/>
                  </a:cubicBezTo>
                  <a:lnTo>
                    <a:pt x="40256" y="72139"/>
                  </a:lnTo>
                  <a:lnTo>
                    <a:pt x="39618" y="71501"/>
                  </a:lnTo>
                  <a:cubicBezTo>
                    <a:pt x="38340" y="70224"/>
                    <a:pt x="37061" y="69585"/>
                    <a:pt x="35145" y="69585"/>
                  </a:cubicBezTo>
                  <a:cubicBezTo>
                    <a:pt x="33228" y="69585"/>
                    <a:pt x="31950" y="70224"/>
                    <a:pt x="30672" y="71501"/>
                  </a:cubicBezTo>
                  <a:lnTo>
                    <a:pt x="1917" y="100229"/>
                  </a:lnTo>
                  <a:cubicBezTo>
                    <a:pt x="-639" y="102782"/>
                    <a:pt x="-639" y="106612"/>
                    <a:pt x="1917" y="109166"/>
                  </a:cubicBezTo>
                  <a:lnTo>
                    <a:pt x="12780" y="120019"/>
                  </a:lnTo>
                  <a:cubicBezTo>
                    <a:pt x="12141" y="120657"/>
                    <a:pt x="14058" y="121296"/>
                    <a:pt x="15975" y="121296"/>
                  </a:cubicBezTo>
                  <a:close/>
                  <a:moveTo>
                    <a:pt x="61343" y="21067"/>
                  </a:moveTo>
                  <a:cubicBezTo>
                    <a:pt x="71567" y="10853"/>
                    <a:pt x="88820" y="10215"/>
                    <a:pt x="99044" y="21067"/>
                  </a:cubicBezTo>
                  <a:cubicBezTo>
                    <a:pt x="109268" y="31282"/>
                    <a:pt x="109907" y="48518"/>
                    <a:pt x="99044" y="58733"/>
                  </a:cubicBezTo>
                  <a:cubicBezTo>
                    <a:pt x="88820" y="68947"/>
                    <a:pt x="71567" y="69585"/>
                    <a:pt x="61343" y="58733"/>
                  </a:cubicBezTo>
                  <a:cubicBezTo>
                    <a:pt x="56231" y="53626"/>
                    <a:pt x="53676" y="46603"/>
                    <a:pt x="53676" y="39581"/>
                  </a:cubicBezTo>
                  <a:cubicBezTo>
                    <a:pt x="53676" y="32558"/>
                    <a:pt x="56231" y="26174"/>
                    <a:pt x="61343" y="21067"/>
                  </a:cubicBezTo>
                  <a:close/>
                  <a:moveTo>
                    <a:pt x="33228" y="84907"/>
                  </a:moveTo>
                  <a:lnTo>
                    <a:pt x="33866" y="85545"/>
                  </a:lnTo>
                  <a:lnTo>
                    <a:pt x="33866" y="85545"/>
                  </a:lnTo>
                  <a:lnTo>
                    <a:pt x="34506" y="86184"/>
                  </a:lnTo>
                  <a:lnTo>
                    <a:pt x="15336" y="105336"/>
                  </a:lnTo>
                  <a:lnTo>
                    <a:pt x="13419" y="103420"/>
                  </a:lnTo>
                  <a:lnTo>
                    <a:pt x="33228" y="84907"/>
                  </a:lnTo>
                  <a:close/>
                </a:path>
              </a:pathLst>
            </a:custGeom>
            <a:grpFill/>
            <a:ln w="6390" cap="flat">
              <a:noFill/>
              <a:prstDash val="solid"/>
              <a:miter/>
            </a:ln>
          </p:spPr>
          <p:txBody>
            <a:bodyPr rtlCol="0" anchor="ctr"/>
            <a:lstStyle/>
            <a:p>
              <a:endParaRPr lang="en-US"/>
            </a:p>
          </p:txBody>
        </p:sp>
      </p:grpSp>
      <p:sp>
        <p:nvSpPr>
          <p:cNvPr id="96" name="Freeform 43">
            <a:extLst>
              <a:ext uri="{FF2B5EF4-FFF2-40B4-BE49-F238E27FC236}">
                <a16:creationId xmlns:a16="http://schemas.microsoft.com/office/drawing/2014/main" id="{AB02C1F1-2E4B-91BD-77B0-06AF07D09E14}"/>
              </a:ext>
            </a:extLst>
          </p:cNvPr>
          <p:cNvSpPr>
            <a:spLocks/>
          </p:cNvSpPr>
          <p:nvPr/>
        </p:nvSpPr>
        <p:spPr bwMode="auto">
          <a:xfrm>
            <a:off x="9496288" y="5162489"/>
            <a:ext cx="681038" cy="1055687"/>
          </a:xfrm>
          <a:custGeom>
            <a:avLst/>
            <a:gdLst>
              <a:gd name="T0" fmla="*/ 148 w 246"/>
              <a:gd name="T1" fmla="*/ 161 h 381"/>
              <a:gd name="T2" fmla="*/ 81 w 246"/>
              <a:gd name="T3" fmla="*/ 120 h 381"/>
              <a:gd name="T4" fmla="*/ 81 w 246"/>
              <a:gd name="T5" fmla="*/ 120 h 381"/>
              <a:gd name="T6" fmla="*/ 121 w 246"/>
              <a:gd name="T7" fmla="*/ 93 h 381"/>
              <a:gd name="T8" fmla="*/ 201 w 246"/>
              <a:gd name="T9" fmla="*/ 123 h 381"/>
              <a:gd name="T10" fmla="*/ 237 w 246"/>
              <a:gd name="T11" fmla="*/ 72 h 381"/>
              <a:gd name="T12" fmla="*/ 157 w 246"/>
              <a:gd name="T13" fmla="*/ 35 h 381"/>
              <a:gd name="T14" fmla="*/ 157 w 246"/>
              <a:gd name="T15" fmla="*/ 0 h 381"/>
              <a:gd name="T16" fmla="*/ 100 w 246"/>
              <a:gd name="T17" fmla="*/ 0 h 381"/>
              <a:gd name="T18" fmla="*/ 100 w 246"/>
              <a:gd name="T19" fmla="*/ 34 h 381"/>
              <a:gd name="T20" fmla="*/ 13 w 246"/>
              <a:gd name="T21" fmla="*/ 126 h 381"/>
              <a:gd name="T22" fmla="*/ 13 w 246"/>
              <a:gd name="T23" fmla="*/ 127 h 381"/>
              <a:gd name="T24" fmla="*/ 116 w 246"/>
              <a:gd name="T25" fmla="*/ 222 h 381"/>
              <a:gd name="T26" fmla="*/ 178 w 246"/>
              <a:gd name="T27" fmla="*/ 261 h 381"/>
              <a:gd name="T28" fmla="*/ 178 w 246"/>
              <a:gd name="T29" fmla="*/ 262 h 381"/>
              <a:gd name="T30" fmla="*/ 133 w 246"/>
              <a:gd name="T31" fmla="*/ 291 h 381"/>
              <a:gd name="T32" fmla="*/ 41 w 246"/>
              <a:gd name="T33" fmla="*/ 254 h 381"/>
              <a:gd name="T34" fmla="*/ 0 w 246"/>
              <a:gd name="T35" fmla="*/ 302 h 381"/>
              <a:gd name="T36" fmla="*/ 100 w 246"/>
              <a:gd name="T37" fmla="*/ 349 h 381"/>
              <a:gd name="T38" fmla="*/ 100 w 246"/>
              <a:gd name="T39" fmla="*/ 381 h 381"/>
              <a:gd name="T40" fmla="*/ 157 w 246"/>
              <a:gd name="T41" fmla="*/ 381 h 381"/>
              <a:gd name="T42" fmla="*/ 157 w 246"/>
              <a:gd name="T43" fmla="*/ 350 h 381"/>
              <a:gd name="T44" fmla="*/ 246 w 246"/>
              <a:gd name="T45" fmla="*/ 255 h 381"/>
              <a:gd name="T46" fmla="*/ 246 w 246"/>
              <a:gd name="T47" fmla="*/ 254 h 381"/>
              <a:gd name="T48" fmla="*/ 148 w 246"/>
              <a:gd name="T49" fmla="*/ 16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6" h="381">
                <a:moveTo>
                  <a:pt x="148" y="161"/>
                </a:moveTo>
                <a:cubicBezTo>
                  <a:pt x="94" y="148"/>
                  <a:pt x="81" y="141"/>
                  <a:pt x="81" y="120"/>
                </a:cubicBezTo>
                <a:cubicBezTo>
                  <a:pt x="81" y="120"/>
                  <a:pt x="81" y="120"/>
                  <a:pt x="81" y="120"/>
                </a:cubicBezTo>
                <a:cubicBezTo>
                  <a:pt x="81" y="105"/>
                  <a:pt x="94" y="93"/>
                  <a:pt x="121" y="93"/>
                </a:cubicBezTo>
                <a:cubicBezTo>
                  <a:pt x="147" y="93"/>
                  <a:pt x="174" y="104"/>
                  <a:pt x="201" y="123"/>
                </a:cubicBezTo>
                <a:cubicBezTo>
                  <a:pt x="237" y="72"/>
                  <a:pt x="237" y="72"/>
                  <a:pt x="237" y="72"/>
                </a:cubicBezTo>
                <a:cubicBezTo>
                  <a:pt x="214" y="53"/>
                  <a:pt x="187" y="41"/>
                  <a:pt x="157" y="35"/>
                </a:cubicBezTo>
                <a:cubicBezTo>
                  <a:pt x="157" y="0"/>
                  <a:pt x="157" y="0"/>
                  <a:pt x="157" y="0"/>
                </a:cubicBezTo>
                <a:cubicBezTo>
                  <a:pt x="100" y="0"/>
                  <a:pt x="100" y="0"/>
                  <a:pt x="100" y="0"/>
                </a:cubicBezTo>
                <a:cubicBezTo>
                  <a:pt x="100" y="34"/>
                  <a:pt x="100" y="34"/>
                  <a:pt x="100" y="34"/>
                </a:cubicBezTo>
                <a:cubicBezTo>
                  <a:pt x="48" y="41"/>
                  <a:pt x="13" y="76"/>
                  <a:pt x="13" y="126"/>
                </a:cubicBezTo>
                <a:cubicBezTo>
                  <a:pt x="13" y="127"/>
                  <a:pt x="13" y="127"/>
                  <a:pt x="13" y="127"/>
                </a:cubicBezTo>
                <a:cubicBezTo>
                  <a:pt x="13" y="188"/>
                  <a:pt x="53" y="206"/>
                  <a:pt x="116" y="222"/>
                </a:cubicBezTo>
                <a:cubicBezTo>
                  <a:pt x="168" y="235"/>
                  <a:pt x="178" y="244"/>
                  <a:pt x="178" y="261"/>
                </a:cubicBezTo>
                <a:cubicBezTo>
                  <a:pt x="178" y="262"/>
                  <a:pt x="178" y="262"/>
                  <a:pt x="178" y="262"/>
                </a:cubicBezTo>
                <a:cubicBezTo>
                  <a:pt x="178" y="280"/>
                  <a:pt x="161" y="291"/>
                  <a:pt x="133" y="291"/>
                </a:cubicBezTo>
                <a:cubicBezTo>
                  <a:pt x="98" y="291"/>
                  <a:pt x="69" y="277"/>
                  <a:pt x="41" y="254"/>
                </a:cubicBezTo>
                <a:cubicBezTo>
                  <a:pt x="0" y="302"/>
                  <a:pt x="0" y="302"/>
                  <a:pt x="0" y="302"/>
                </a:cubicBezTo>
                <a:cubicBezTo>
                  <a:pt x="29" y="328"/>
                  <a:pt x="64" y="343"/>
                  <a:pt x="100" y="349"/>
                </a:cubicBezTo>
                <a:cubicBezTo>
                  <a:pt x="100" y="381"/>
                  <a:pt x="100" y="381"/>
                  <a:pt x="100" y="381"/>
                </a:cubicBezTo>
                <a:cubicBezTo>
                  <a:pt x="157" y="381"/>
                  <a:pt x="157" y="381"/>
                  <a:pt x="157" y="381"/>
                </a:cubicBezTo>
                <a:cubicBezTo>
                  <a:pt x="157" y="350"/>
                  <a:pt x="157" y="350"/>
                  <a:pt x="157" y="350"/>
                </a:cubicBezTo>
                <a:cubicBezTo>
                  <a:pt x="210" y="342"/>
                  <a:pt x="246" y="309"/>
                  <a:pt x="246" y="255"/>
                </a:cubicBezTo>
                <a:cubicBezTo>
                  <a:pt x="246" y="254"/>
                  <a:pt x="246" y="254"/>
                  <a:pt x="246" y="254"/>
                </a:cubicBezTo>
                <a:cubicBezTo>
                  <a:pt x="246" y="200"/>
                  <a:pt x="211" y="178"/>
                  <a:pt x="148" y="16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2620550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Straight Arrow Connector 28">
            <a:extLst>
              <a:ext uri="{FF2B5EF4-FFF2-40B4-BE49-F238E27FC236}">
                <a16:creationId xmlns:a16="http://schemas.microsoft.com/office/drawing/2014/main" id="{FC27FC70-64EA-CC38-6784-9C1607A2BBE7}"/>
              </a:ext>
            </a:extLst>
          </p:cNvPr>
          <p:cNvCxnSpPr>
            <a:cxnSpLocks/>
          </p:cNvCxnSpPr>
          <p:nvPr/>
        </p:nvCxnSpPr>
        <p:spPr>
          <a:xfrm>
            <a:off x="7942813" y="4616355"/>
            <a:ext cx="2743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B50A2AD8-1A69-6599-50B8-5CA3045AFC4F}"/>
              </a:ext>
            </a:extLst>
          </p:cNvPr>
          <p:cNvCxnSpPr>
            <a:cxnSpLocks/>
          </p:cNvCxnSpPr>
          <p:nvPr/>
        </p:nvCxnSpPr>
        <p:spPr>
          <a:xfrm>
            <a:off x="7942813" y="2529104"/>
            <a:ext cx="2743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3626E2B-1B6A-E4CE-5141-DFDCB655D32A}"/>
              </a:ext>
            </a:extLst>
          </p:cNvPr>
          <p:cNvSpPr txBox="1"/>
          <p:nvPr/>
        </p:nvSpPr>
        <p:spPr>
          <a:xfrm>
            <a:off x="501652" y="317503"/>
            <a:ext cx="8620271"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black"/>
                </a:solidFill>
                <a:effectLst/>
                <a:uLnTx/>
                <a:uFillTx/>
                <a:latin typeface="Calibri" panose="020F0502020204030204"/>
                <a:ea typeface="+mn-ea"/>
                <a:cs typeface="+mn-cs"/>
              </a:rPr>
              <a:t>Plan Element Overview</a:t>
            </a:r>
            <a:endParaRPr kumimoji="0" lang="en-US" sz="3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CD660652-B0A0-DDD1-F462-3D09BFC466F4}"/>
              </a:ext>
            </a:extLst>
          </p:cNvPr>
          <p:cNvSpPr txBox="1"/>
          <p:nvPr/>
        </p:nvSpPr>
        <p:spPr>
          <a:xfrm>
            <a:off x="1185569" y="2122364"/>
            <a:ext cx="461515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313131"/>
                </a:solidFill>
                <a:effectLst/>
                <a:uLnTx/>
                <a:uFillTx/>
                <a:latin typeface="Calibri" panose="020F0502020204030204"/>
                <a:ea typeface="+mn-ea"/>
                <a:cs typeface="Calibri" panose="020F0502020204030204" pitchFamily="34" charset="0"/>
              </a:rPr>
              <a:t>Transitioning from a CLA or CRS </a:t>
            </a:r>
            <a:r>
              <a:rPr kumimoji="0" lang="en-US" sz="1600" b="1" i="0" u="none" strike="noStrike" kern="1200" cap="none" spc="0" normalizeH="0" baseline="0" noProof="0">
                <a:ln>
                  <a:noFill/>
                </a:ln>
                <a:solidFill>
                  <a:srgbClr val="313131"/>
                </a:solidFill>
                <a:effectLst/>
                <a:uLnTx/>
                <a:uFillTx/>
                <a:latin typeface="Calibri" panose="020F0502020204030204"/>
                <a:ea typeface="+mn-ea"/>
                <a:cs typeface="Calibri" panose="020F0502020204030204" pitchFamily="34" charset="0"/>
              </a:rPr>
              <a:t>to a more integrated community-based setting </a:t>
            </a:r>
            <a:r>
              <a:rPr kumimoji="0" lang="en-US" sz="1600" b="0" i="0" u="none" strike="noStrike" kern="1200" cap="none" spc="0" normalizeH="0" baseline="0" noProof="0">
                <a:ln>
                  <a:noFill/>
                </a:ln>
                <a:solidFill>
                  <a:srgbClr val="313131"/>
                </a:solidFill>
                <a:effectLst/>
                <a:uLnTx/>
                <a:uFillTx/>
                <a:latin typeface="Calibri" panose="020F0502020204030204"/>
                <a:ea typeface="+mn-ea"/>
                <a:cs typeface="Calibri" panose="020F0502020204030204" pitchFamily="34" charset="0"/>
              </a:rPr>
              <a:t>(own home, family home or CCH)</a:t>
            </a:r>
          </a:p>
        </p:txBody>
      </p:sp>
      <p:sp>
        <p:nvSpPr>
          <p:cNvPr id="11" name="Rectangle 10">
            <a:extLst>
              <a:ext uri="{FF2B5EF4-FFF2-40B4-BE49-F238E27FC236}">
                <a16:creationId xmlns:a16="http://schemas.microsoft.com/office/drawing/2014/main" id="{E86486D2-17B4-45CE-85B8-8D44E55995D6}"/>
              </a:ext>
            </a:extLst>
          </p:cNvPr>
          <p:cNvSpPr/>
          <p:nvPr/>
        </p:nvSpPr>
        <p:spPr>
          <a:xfrm>
            <a:off x="10273375" y="2110521"/>
            <a:ext cx="1616649" cy="830425"/>
          </a:xfrm>
          <a:prstGeom prst="rect">
            <a:avLst/>
          </a:prstGeom>
          <a:solidFill>
            <a:schemeClr val="accent1">
              <a:lumMod val="20000"/>
              <a:lumOff val="80000"/>
            </a:schemeClr>
          </a:solidFill>
          <a:ln w="28575">
            <a:solidFill>
              <a:srgbClr val="22326E"/>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Ubuntu" charset="0"/>
                <a:cs typeface="Ubuntu" charset="0"/>
              </a:rPr>
              <a:t>Template A: Residential</a:t>
            </a:r>
          </a:p>
        </p:txBody>
      </p:sp>
      <p:sp>
        <p:nvSpPr>
          <p:cNvPr id="15" name="TextBox 14">
            <a:extLst>
              <a:ext uri="{FF2B5EF4-FFF2-40B4-BE49-F238E27FC236}">
                <a16:creationId xmlns:a16="http://schemas.microsoft.com/office/drawing/2014/main" id="{07D44F2B-5E24-154B-FFB3-693B25DDB139}"/>
              </a:ext>
            </a:extLst>
          </p:cNvPr>
          <p:cNvSpPr txBox="1"/>
          <p:nvPr/>
        </p:nvSpPr>
        <p:spPr>
          <a:xfrm>
            <a:off x="1185568" y="4031580"/>
            <a:ext cx="4615156"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Transitioning from non-vocational congregate day settings </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to transitional and vocational supports</a:t>
            </a:r>
          </a:p>
        </p:txBody>
      </p:sp>
      <p:sp>
        <p:nvSpPr>
          <p:cNvPr id="17" name="TextBox 16">
            <a:extLst>
              <a:ext uri="{FF2B5EF4-FFF2-40B4-BE49-F238E27FC236}">
                <a16:creationId xmlns:a16="http://schemas.microsoft.com/office/drawing/2014/main" id="{57E03CDB-AFAD-7007-BEAB-633EC74B4996}"/>
              </a:ext>
            </a:extLst>
          </p:cNvPr>
          <p:cNvSpPr txBox="1"/>
          <p:nvPr/>
        </p:nvSpPr>
        <p:spPr>
          <a:xfrm>
            <a:off x="1185568" y="4806404"/>
            <a:ext cx="4615156"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pitchFamily="34" charset="0"/>
              </a:rPr>
              <a:t>Transitioning from GSE </a:t>
            </a:r>
            <a:r>
              <a:rPr kumimoji="0" lang="en-US" sz="1600" b="1" i="0" u="none" strike="noStrike" kern="1200" cap="none" spc="0" normalizeH="0" baseline="0" noProof="0">
                <a:ln>
                  <a:noFill/>
                </a:ln>
                <a:solidFill>
                  <a:prstClr val="black"/>
                </a:solidFill>
                <a:effectLst/>
                <a:uLnTx/>
                <a:uFillTx/>
                <a:latin typeface="Calibri" panose="020F0502020204030204"/>
                <a:ea typeface="+mn-ea"/>
                <a:cs typeface="Calibri" panose="020F0502020204030204" pitchFamily="34" charset="0"/>
              </a:rPr>
              <a:t>to ISE or Customized Employment</a:t>
            </a:r>
          </a:p>
        </p:txBody>
      </p:sp>
      <p:cxnSp>
        <p:nvCxnSpPr>
          <p:cNvPr id="16" name="Straight Connector 15">
            <a:extLst>
              <a:ext uri="{FF2B5EF4-FFF2-40B4-BE49-F238E27FC236}">
                <a16:creationId xmlns:a16="http://schemas.microsoft.com/office/drawing/2014/main" id="{CED4AC37-BB0C-C611-1801-9762229ED80E}"/>
              </a:ext>
            </a:extLst>
          </p:cNvPr>
          <p:cNvCxnSpPr>
            <a:cxnSpLocks/>
          </p:cNvCxnSpPr>
          <p:nvPr/>
        </p:nvCxnSpPr>
        <p:spPr>
          <a:xfrm>
            <a:off x="1080200" y="2008267"/>
            <a:ext cx="0" cy="1012226"/>
          </a:xfrm>
          <a:prstGeom prst="line">
            <a:avLst/>
          </a:prstGeom>
          <a:ln w="38100">
            <a:solidFill>
              <a:srgbClr val="22326E">
                <a:alpha val="69804"/>
              </a:srgbClr>
            </a:solidFill>
          </a:ln>
        </p:spPr>
        <p:style>
          <a:lnRef idx="1">
            <a:schemeClr val="accent1"/>
          </a:lnRef>
          <a:fillRef idx="0">
            <a:schemeClr val="accent1"/>
          </a:fillRef>
          <a:effectRef idx="0">
            <a:schemeClr val="accent1"/>
          </a:effectRef>
          <a:fontRef idx="minor">
            <a:schemeClr val="tx1"/>
          </a:fontRef>
        </p:style>
      </p:cxnSp>
      <p:sp>
        <p:nvSpPr>
          <p:cNvPr id="20" name="Freeform 19">
            <a:extLst>
              <a:ext uri="{FF2B5EF4-FFF2-40B4-BE49-F238E27FC236}">
                <a16:creationId xmlns:a16="http://schemas.microsoft.com/office/drawing/2014/main" id="{943E7264-CE8F-8738-F87D-DA0522420626}"/>
              </a:ext>
            </a:extLst>
          </p:cNvPr>
          <p:cNvSpPr>
            <a:spLocks noEditPoints="1"/>
          </p:cNvSpPr>
          <p:nvPr/>
        </p:nvSpPr>
        <p:spPr bwMode="auto">
          <a:xfrm>
            <a:off x="430984" y="4445331"/>
            <a:ext cx="520700" cy="520700"/>
          </a:xfrm>
          <a:custGeom>
            <a:avLst/>
            <a:gdLst>
              <a:gd name="T0" fmla="*/ 312 w 657"/>
              <a:gd name="T1" fmla="*/ 657 h 657"/>
              <a:gd name="T2" fmla="*/ 262 w 657"/>
              <a:gd name="T3" fmla="*/ 650 h 657"/>
              <a:gd name="T4" fmla="*/ 201 w 657"/>
              <a:gd name="T5" fmla="*/ 631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1 w 657"/>
              <a:gd name="T19" fmla="*/ 246 h 657"/>
              <a:gd name="T20" fmla="*/ 39 w 657"/>
              <a:gd name="T21" fmla="*/ 172 h 657"/>
              <a:gd name="T22" fmla="*/ 97 w 657"/>
              <a:gd name="T23" fmla="*/ 95 h 657"/>
              <a:gd name="T24" fmla="*/ 172 w 657"/>
              <a:gd name="T25" fmla="*/ 39 h 657"/>
              <a:gd name="T26" fmla="*/ 246 w 657"/>
              <a:gd name="T27" fmla="*/ 9 h 657"/>
              <a:gd name="T28" fmla="*/ 296 w 657"/>
              <a:gd name="T29" fmla="*/ 1 h 657"/>
              <a:gd name="T30" fmla="*/ 330 w 657"/>
              <a:gd name="T31" fmla="*/ 0 h 657"/>
              <a:gd name="T32" fmla="*/ 379 w 657"/>
              <a:gd name="T33" fmla="*/ 4 h 657"/>
              <a:gd name="T34" fmla="*/ 426 w 657"/>
              <a:gd name="T35" fmla="*/ 15 h 657"/>
              <a:gd name="T36" fmla="*/ 512 w 657"/>
              <a:gd name="T37" fmla="*/ 56 h 657"/>
              <a:gd name="T38" fmla="*/ 582 w 657"/>
              <a:gd name="T39" fmla="*/ 120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0 h 657"/>
              <a:gd name="T56" fmla="*/ 426 w 657"/>
              <a:gd name="T57" fmla="*/ 642 h 657"/>
              <a:gd name="T58" fmla="*/ 379 w 657"/>
              <a:gd name="T59" fmla="*/ 653 h 657"/>
              <a:gd name="T60" fmla="*/ 330 w 657"/>
              <a:gd name="T61" fmla="*/ 657 h 657"/>
              <a:gd name="T62" fmla="*/ 330 w 657"/>
              <a:gd name="T63" fmla="*/ 38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30 w 657"/>
              <a:gd name="T85" fmla="*/ 619 h 657"/>
              <a:gd name="T86" fmla="*/ 387 w 657"/>
              <a:gd name="T87" fmla="*/ 614 h 657"/>
              <a:gd name="T88" fmla="*/ 468 w 657"/>
              <a:gd name="T89" fmla="*/ 584 h 657"/>
              <a:gd name="T90" fmla="*/ 535 w 657"/>
              <a:gd name="T91" fmla="*/ 535 h 657"/>
              <a:gd name="T92" fmla="*/ 585 w 657"/>
              <a:gd name="T93" fmla="*/ 468 h 657"/>
              <a:gd name="T94" fmla="*/ 614 w 657"/>
              <a:gd name="T95" fmla="*/ 387 h 657"/>
              <a:gd name="T96" fmla="*/ 620 w 657"/>
              <a:gd name="T97" fmla="*/ 328 h 657"/>
              <a:gd name="T98" fmla="*/ 608 w 657"/>
              <a:gd name="T99" fmla="*/ 242 h 657"/>
              <a:gd name="T100" fmla="*/ 570 w 657"/>
              <a:gd name="T101" fmla="*/ 165 h 657"/>
              <a:gd name="T102" fmla="*/ 514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30" y="657"/>
                </a:moveTo>
                <a:lnTo>
                  <a:pt x="330" y="657"/>
                </a:lnTo>
                <a:lnTo>
                  <a:pt x="312" y="657"/>
                </a:lnTo>
                <a:lnTo>
                  <a:pt x="296" y="656"/>
                </a:lnTo>
                <a:lnTo>
                  <a:pt x="279" y="653"/>
                </a:lnTo>
                <a:lnTo>
                  <a:pt x="262" y="650"/>
                </a:lnTo>
                <a:lnTo>
                  <a:pt x="246" y="647"/>
                </a:lnTo>
                <a:lnTo>
                  <a:pt x="231" y="642"/>
                </a:lnTo>
                <a:lnTo>
                  <a:pt x="201" y="631"/>
                </a:lnTo>
                <a:lnTo>
                  <a:pt x="172" y="618"/>
                </a:lnTo>
                <a:lnTo>
                  <a:pt x="146" y="600"/>
                </a:lnTo>
                <a:lnTo>
                  <a:pt x="120" y="582"/>
                </a:lnTo>
                <a:lnTo>
                  <a:pt x="97" y="560"/>
                </a:lnTo>
                <a:lnTo>
                  <a:pt x="76" y="537"/>
                </a:lnTo>
                <a:lnTo>
                  <a:pt x="57" y="512"/>
                </a:lnTo>
                <a:lnTo>
                  <a:pt x="39" y="485"/>
                </a:lnTo>
                <a:lnTo>
                  <a:pt x="26" y="457"/>
                </a:lnTo>
                <a:lnTo>
                  <a:pt x="15" y="426"/>
                </a:lnTo>
                <a:lnTo>
                  <a:pt x="11" y="411"/>
                </a:lnTo>
                <a:lnTo>
                  <a:pt x="7" y="395"/>
                </a:lnTo>
                <a:lnTo>
                  <a:pt x="4" y="379"/>
                </a:lnTo>
                <a:lnTo>
                  <a:pt x="2" y="361"/>
                </a:lnTo>
                <a:lnTo>
                  <a:pt x="0" y="345"/>
                </a:lnTo>
                <a:lnTo>
                  <a:pt x="0" y="328"/>
                </a:lnTo>
                <a:lnTo>
                  <a:pt x="0" y="328"/>
                </a:lnTo>
                <a:lnTo>
                  <a:pt x="0" y="312"/>
                </a:lnTo>
                <a:lnTo>
                  <a:pt x="2" y="294"/>
                </a:lnTo>
                <a:lnTo>
                  <a:pt x="4" y="278"/>
                </a:lnTo>
                <a:lnTo>
                  <a:pt x="7" y="262"/>
                </a:lnTo>
                <a:lnTo>
                  <a:pt x="11" y="246"/>
                </a:lnTo>
                <a:lnTo>
                  <a:pt x="15" y="231"/>
                </a:lnTo>
                <a:lnTo>
                  <a:pt x="26" y="200"/>
                </a:lnTo>
                <a:lnTo>
                  <a:pt x="39" y="172"/>
                </a:lnTo>
                <a:lnTo>
                  <a:pt x="57" y="145"/>
                </a:lnTo>
                <a:lnTo>
                  <a:pt x="76" y="120"/>
                </a:lnTo>
                <a:lnTo>
                  <a:pt x="97" y="95"/>
                </a:lnTo>
                <a:lnTo>
                  <a:pt x="120" y="75"/>
                </a:lnTo>
                <a:lnTo>
                  <a:pt x="146" y="56"/>
                </a:lnTo>
                <a:lnTo>
                  <a:pt x="172" y="39"/>
                </a:lnTo>
                <a:lnTo>
                  <a:pt x="201" y="26"/>
                </a:lnTo>
                <a:lnTo>
                  <a:pt x="231" y="15"/>
                </a:lnTo>
                <a:lnTo>
                  <a:pt x="246" y="9"/>
                </a:lnTo>
                <a:lnTo>
                  <a:pt x="262" y="7"/>
                </a:lnTo>
                <a:lnTo>
                  <a:pt x="279" y="4"/>
                </a:lnTo>
                <a:lnTo>
                  <a:pt x="296" y="1"/>
                </a:lnTo>
                <a:lnTo>
                  <a:pt x="312" y="0"/>
                </a:lnTo>
                <a:lnTo>
                  <a:pt x="330" y="0"/>
                </a:lnTo>
                <a:lnTo>
                  <a:pt x="330" y="0"/>
                </a:lnTo>
                <a:lnTo>
                  <a:pt x="346" y="0"/>
                </a:lnTo>
                <a:lnTo>
                  <a:pt x="363" y="1"/>
                </a:lnTo>
                <a:lnTo>
                  <a:pt x="379" y="4"/>
                </a:lnTo>
                <a:lnTo>
                  <a:pt x="395" y="7"/>
                </a:lnTo>
                <a:lnTo>
                  <a:pt x="411" y="9"/>
                </a:lnTo>
                <a:lnTo>
                  <a:pt x="426" y="15"/>
                </a:lnTo>
                <a:lnTo>
                  <a:pt x="457" y="26"/>
                </a:lnTo>
                <a:lnTo>
                  <a:pt x="485" y="39"/>
                </a:lnTo>
                <a:lnTo>
                  <a:pt x="512" y="56"/>
                </a:lnTo>
                <a:lnTo>
                  <a:pt x="538" y="75"/>
                </a:lnTo>
                <a:lnTo>
                  <a:pt x="562" y="95"/>
                </a:lnTo>
                <a:lnTo>
                  <a:pt x="582" y="120"/>
                </a:lnTo>
                <a:lnTo>
                  <a:pt x="601" y="145"/>
                </a:lnTo>
                <a:lnTo>
                  <a:pt x="618" y="172"/>
                </a:lnTo>
                <a:lnTo>
                  <a:pt x="632" y="200"/>
                </a:lnTo>
                <a:lnTo>
                  <a:pt x="643" y="231"/>
                </a:lnTo>
                <a:lnTo>
                  <a:pt x="648" y="246"/>
                </a:lnTo>
                <a:lnTo>
                  <a:pt x="651" y="262"/>
                </a:lnTo>
                <a:lnTo>
                  <a:pt x="655" y="278"/>
                </a:lnTo>
                <a:lnTo>
                  <a:pt x="656" y="294"/>
                </a:lnTo>
                <a:lnTo>
                  <a:pt x="657" y="312"/>
                </a:lnTo>
                <a:lnTo>
                  <a:pt x="657" y="328"/>
                </a:lnTo>
                <a:lnTo>
                  <a:pt x="657" y="328"/>
                </a:lnTo>
                <a:lnTo>
                  <a:pt x="657" y="345"/>
                </a:lnTo>
                <a:lnTo>
                  <a:pt x="656" y="361"/>
                </a:lnTo>
                <a:lnTo>
                  <a:pt x="655" y="379"/>
                </a:lnTo>
                <a:lnTo>
                  <a:pt x="651" y="395"/>
                </a:lnTo>
                <a:lnTo>
                  <a:pt x="648" y="411"/>
                </a:lnTo>
                <a:lnTo>
                  <a:pt x="643" y="426"/>
                </a:lnTo>
                <a:lnTo>
                  <a:pt x="632" y="457"/>
                </a:lnTo>
                <a:lnTo>
                  <a:pt x="618" y="485"/>
                </a:lnTo>
                <a:lnTo>
                  <a:pt x="601" y="512"/>
                </a:lnTo>
                <a:lnTo>
                  <a:pt x="582" y="537"/>
                </a:lnTo>
                <a:lnTo>
                  <a:pt x="562" y="560"/>
                </a:lnTo>
                <a:lnTo>
                  <a:pt x="538" y="582"/>
                </a:lnTo>
                <a:lnTo>
                  <a:pt x="512" y="600"/>
                </a:lnTo>
                <a:lnTo>
                  <a:pt x="485" y="618"/>
                </a:lnTo>
                <a:lnTo>
                  <a:pt x="457" y="631"/>
                </a:lnTo>
                <a:lnTo>
                  <a:pt x="426" y="642"/>
                </a:lnTo>
                <a:lnTo>
                  <a:pt x="411" y="647"/>
                </a:lnTo>
                <a:lnTo>
                  <a:pt x="395" y="650"/>
                </a:lnTo>
                <a:lnTo>
                  <a:pt x="379" y="653"/>
                </a:lnTo>
                <a:lnTo>
                  <a:pt x="363" y="656"/>
                </a:lnTo>
                <a:lnTo>
                  <a:pt x="346" y="657"/>
                </a:lnTo>
                <a:lnTo>
                  <a:pt x="330" y="657"/>
                </a:lnTo>
                <a:lnTo>
                  <a:pt x="330" y="657"/>
                </a:lnTo>
                <a:close/>
                <a:moveTo>
                  <a:pt x="330" y="38"/>
                </a:moveTo>
                <a:lnTo>
                  <a:pt x="330" y="38"/>
                </a:lnTo>
                <a:lnTo>
                  <a:pt x="299" y="39"/>
                </a:lnTo>
                <a:lnTo>
                  <a:pt x="270" y="43"/>
                </a:lnTo>
                <a:lnTo>
                  <a:pt x="242" y="50"/>
                </a:lnTo>
                <a:lnTo>
                  <a:pt x="215" y="61"/>
                </a:lnTo>
                <a:lnTo>
                  <a:pt x="190" y="73"/>
                </a:lnTo>
                <a:lnTo>
                  <a:pt x="166" y="87"/>
                </a:lnTo>
                <a:lnTo>
                  <a:pt x="144" y="104"/>
                </a:lnTo>
                <a:lnTo>
                  <a:pt x="123" y="122"/>
                </a:lnTo>
                <a:lnTo>
                  <a:pt x="104" y="144"/>
                </a:lnTo>
                <a:lnTo>
                  <a:pt x="88" y="165"/>
                </a:lnTo>
                <a:lnTo>
                  <a:pt x="73" y="189"/>
                </a:lnTo>
                <a:lnTo>
                  <a:pt x="61" y="215"/>
                </a:lnTo>
                <a:lnTo>
                  <a:pt x="52" y="242"/>
                </a:lnTo>
                <a:lnTo>
                  <a:pt x="43" y="270"/>
                </a:lnTo>
                <a:lnTo>
                  <a:pt x="39" y="298"/>
                </a:lnTo>
                <a:lnTo>
                  <a:pt x="38" y="328"/>
                </a:lnTo>
                <a:lnTo>
                  <a:pt x="38" y="328"/>
                </a:lnTo>
                <a:lnTo>
                  <a:pt x="39" y="359"/>
                </a:lnTo>
                <a:lnTo>
                  <a:pt x="43" y="387"/>
                </a:lnTo>
                <a:lnTo>
                  <a:pt x="52" y="415"/>
                </a:lnTo>
                <a:lnTo>
                  <a:pt x="61" y="442"/>
                </a:lnTo>
                <a:lnTo>
                  <a:pt x="73" y="468"/>
                </a:lnTo>
                <a:lnTo>
                  <a:pt x="88" y="492"/>
                </a:lnTo>
                <a:lnTo>
                  <a:pt x="104" y="513"/>
                </a:lnTo>
                <a:lnTo>
                  <a:pt x="123" y="535"/>
                </a:lnTo>
                <a:lnTo>
                  <a:pt x="144" y="553"/>
                </a:lnTo>
                <a:lnTo>
                  <a:pt x="166" y="570"/>
                </a:lnTo>
                <a:lnTo>
                  <a:pt x="190" y="584"/>
                </a:lnTo>
                <a:lnTo>
                  <a:pt x="215" y="596"/>
                </a:lnTo>
                <a:lnTo>
                  <a:pt x="242" y="606"/>
                </a:lnTo>
                <a:lnTo>
                  <a:pt x="270" y="614"/>
                </a:lnTo>
                <a:lnTo>
                  <a:pt x="299" y="618"/>
                </a:lnTo>
                <a:lnTo>
                  <a:pt x="330" y="619"/>
                </a:lnTo>
                <a:lnTo>
                  <a:pt x="330" y="619"/>
                </a:lnTo>
                <a:lnTo>
                  <a:pt x="359" y="618"/>
                </a:lnTo>
                <a:lnTo>
                  <a:pt x="387" y="614"/>
                </a:lnTo>
                <a:lnTo>
                  <a:pt x="416" y="606"/>
                </a:lnTo>
                <a:lnTo>
                  <a:pt x="442" y="596"/>
                </a:lnTo>
                <a:lnTo>
                  <a:pt x="468" y="584"/>
                </a:lnTo>
                <a:lnTo>
                  <a:pt x="492" y="570"/>
                </a:lnTo>
                <a:lnTo>
                  <a:pt x="514" y="553"/>
                </a:lnTo>
                <a:lnTo>
                  <a:pt x="535" y="535"/>
                </a:lnTo>
                <a:lnTo>
                  <a:pt x="554" y="513"/>
                </a:lnTo>
                <a:lnTo>
                  <a:pt x="570" y="492"/>
                </a:lnTo>
                <a:lnTo>
                  <a:pt x="585" y="468"/>
                </a:lnTo>
                <a:lnTo>
                  <a:pt x="597" y="442"/>
                </a:lnTo>
                <a:lnTo>
                  <a:pt x="608" y="415"/>
                </a:lnTo>
                <a:lnTo>
                  <a:pt x="614" y="387"/>
                </a:lnTo>
                <a:lnTo>
                  <a:pt x="618" y="359"/>
                </a:lnTo>
                <a:lnTo>
                  <a:pt x="620" y="328"/>
                </a:lnTo>
                <a:lnTo>
                  <a:pt x="620" y="328"/>
                </a:lnTo>
                <a:lnTo>
                  <a:pt x="618" y="298"/>
                </a:lnTo>
                <a:lnTo>
                  <a:pt x="614" y="270"/>
                </a:lnTo>
                <a:lnTo>
                  <a:pt x="608" y="242"/>
                </a:lnTo>
                <a:lnTo>
                  <a:pt x="597" y="215"/>
                </a:lnTo>
                <a:lnTo>
                  <a:pt x="585" y="189"/>
                </a:lnTo>
                <a:lnTo>
                  <a:pt x="570" y="165"/>
                </a:lnTo>
                <a:lnTo>
                  <a:pt x="554" y="144"/>
                </a:lnTo>
                <a:lnTo>
                  <a:pt x="535" y="122"/>
                </a:lnTo>
                <a:lnTo>
                  <a:pt x="514" y="104"/>
                </a:lnTo>
                <a:lnTo>
                  <a:pt x="492" y="87"/>
                </a:lnTo>
                <a:lnTo>
                  <a:pt x="468" y="73"/>
                </a:lnTo>
                <a:lnTo>
                  <a:pt x="442" y="61"/>
                </a:lnTo>
                <a:lnTo>
                  <a:pt x="416" y="50"/>
                </a:lnTo>
                <a:lnTo>
                  <a:pt x="387" y="43"/>
                </a:lnTo>
                <a:lnTo>
                  <a:pt x="359" y="39"/>
                </a:lnTo>
                <a:lnTo>
                  <a:pt x="330" y="38"/>
                </a:lnTo>
                <a:lnTo>
                  <a:pt x="330" y="38"/>
                </a:lnTo>
                <a:close/>
              </a:path>
            </a:pathLst>
          </a:custGeom>
          <a:solidFill>
            <a:schemeClr val="accent2"/>
          </a:solidFill>
          <a:ln w="9525">
            <a:solidFill>
              <a:srgbClr val="009DE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cxnSp>
        <p:nvCxnSpPr>
          <p:cNvPr id="23" name="Straight Connector 22">
            <a:extLst>
              <a:ext uri="{FF2B5EF4-FFF2-40B4-BE49-F238E27FC236}">
                <a16:creationId xmlns:a16="http://schemas.microsoft.com/office/drawing/2014/main" id="{EF403EB0-0E84-3F25-EC44-052F88197B30}"/>
              </a:ext>
            </a:extLst>
          </p:cNvPr>
          <p:cNvCxnSpPr>
            <a:cxnSpLocks/>
          </p:cNvCxnSpPr>
          <p:nvPr/>
        </p:nvCxnSpPr>
        <p:spPr>
          <a:xfrm>
            <a:off x="1089286" y="3784128"/>
            <a:ext cx="0" cy="184310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26548320-0CB3-6CE8-B4E2-FE5361A4009A}"/>
              </a:ext>
            </a:extLst>
          </p:cNvPr>
          <p:cNvGrpSpPr/>
          <p:nvPr/>
        </p:nvGrpSpPr>
        <p:grpSpPr>
          <a:xfrm>
            <a:off x="430984" y="2254030"/>
            <a:ext cx="520700" cy="520700"/>
            <a:chOff x="310632" y="2011465"/>
            <a:chExt cx="520700" cy="520700"/>
          </a:xfrm>
          <a:solidFill>
            <a:schemeClr val="accent1"/>
          </a:solidFill>
        </p:grpSpPr>
        <p:sp>
          <p:nvSpPr>
            <p:cNvPr id="8" name="Freeform 19">
              <a:extLst>
                <a:ext uri="{FF2B5EF4-FFF2-40B4-BE49-F238E27FC236}">
                  <a16:creationId xmlns:a16="http://schemas.microsoft.com/office/drawing/2014/main" id="{1B210B9B-412B-08D8-655D-9FB405134F96}"/>
                </a:ext>
              </a:extLst>
            </p:cNvPr>
            <p:cNvSpPr>
              <a:spLocks noEditPoints="1"/>
            </p:cNvSpPr>
            <p:nvPr/>
          </p:nvSpPr>
          <p:spPr bwMode="auto">
            <a:xfrm>
              <a:off x="310632" y="2011465"/>
              <a:ext cx="520700" cy="520700"/>
            </a:xfrm>
            <a:custGeom>
              <a:avLst/>
              <a:gdLst>
                <a:gd name="T0" fmla="*/ 312 w 657"/>
                <a:gd name="T1" fmla="*/ 657 h 657"/>
                <a:gd name="T2" fmla="*/ 262 w 657"/>
                <a:gd name="T3" fmla="*/ 650 h 657"/>
                <a:gd name="T4" fmla="*/ 201 w 657"/>
                <a:gd name="T5" fmla="*/ 631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1 w 657"/>
                <a:gd name="T19" fmla="*/ 246 h 657"/>
                <a:gd name="T20" fmla="*/ 39 w 657"/>
                <a:gd name="T21" fmla="*/ 172 h 657"/>
                <a:gd name="T22" fmla="*/ 97 w 657"/>
                <a:gd name="T23" fmla="*/ 95 h 657"/>
                <a:gd name="T24" fmla="*/ 172 w 657"/>
                <a:gd name="T25" fmla="*/ 39 h 657"/>
                <a:gd name="T26" fmla="*/ 246 w 657"/>
                <a:gd name="T27" fmla="*/ 9 h 657"/>
                <a:gd name="T28" fmla="*/ 296 w 657"/>
                <a:gd name="T29" fmla="*/ 1 h 657"/>
                <a:gd name="T30" fmla="*/ 330 w 657"/>
                <a:gd name="T31" fmla="*/ 0 h 657"/>
                <a:gd name="T32" fmla="*/ 379 w 657"/>
                <a:gd name="T33" fmla="*/ 4 h 657"/>
                <a:gd name="T34" fmla="*/ 426 w 657"/>
                <a:gd name="T35" fmla="*/ 15 h 657"/>
                <a:gd name="T36" fmla="*/ 512 w 657"/>
                <a:gd name="T37" fmla="*/ 56 h 657"/>
                <a:gd name="T38" fmla="*/ 582 w 657"/>
                <a:gd name="T39" fmla="*/ 120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0 h 657"/>
                <a:gd name="T56" fmla="*/ 426 w 657"/>
                <a:gd name="T57" fmla="*/ 642 h 657"/>
                <a:gd name="T58" fmla="*/ 379 w 657"/>
                <a:gd name="T59" fmla="*/ 653 h 657"/>
                <a:gd name="T60" fmla="*/ 330 w 657"/>
                <a:gd name="T61" fmla="*/ 657 h 657"/>
                <a:gd name="T62" fmla="*/ 330 w 657"/>
                <a:gd name="T63" fmla="*/ 38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30 w 657"/>
                <a:gd name="T85" fmla="*/ 619 h 657"/>
                <a:gd name="T86" fmla="*/ 387 w 657"/>
                <a:gd name="T87" fmla="*/ 614 h 657"/>
                <a:gd name="T88" fmla="*/ 468 w 657"/>
                <a:gd name="T89" fmla="*/ 584 h 657"/>
                <a:gd name="T90" fmla="*/ 535 w 657"/>
                <a:gd name="T91" fmla="*/ 535 h 657"/>
                <a:gd name="T92" fmla="*/ 585 w 657"/>
                <a:gd name="T93" fmla="*/ 468 h 657"/>
                <a:gd name="T94" fmla="*/ 614 w 657"/>
                <a:gd name="T95" fmla="*/ 387 h 657"/>
                <a:gd name="T96" fmla="*/ 620 w 657"/>
                <a:gd name="T97" fmla="*/ 328 h 657"/>
                <a:gd name="T98" fmla="*/ 608 w 657"/>
                <a:gd name="T99" fmla="*/ 242 h 657"/>
                <a:gd name="T100" fmla="*/ 570 w 657"/>
                <a:gd name="T101" fmla="*/ 165 h 657"/>
                <a:gd name="T102" fmla="*/ 514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30" y="657"/>
                  </a:moveTo>
                  <a:lnTo>
                    <a:pt x="330" y="657"/>
                  </a:lnTo>
                  <a:lnTo>
                    <a:pt x="312" y="657"/>
                  </a:lnTo>
                  <a:lnTo>
                    <a:pt x="296" y="656"/>
                  </a:lnTo>
                  <a:lnTo>
                    <a:pt x="279" y="653"/>
                  </a:lnTo>
                  <a:lnTo>
                    <a:pt x="262" y="650"/>
                  </a:lnTo>
                  <a:lnTo>
                    <a:pt x="246" y="647"/>
                  </a:lnTo>
                  <a:lnTo>
                    <a:pt x="231" y="642"/>
                  </a:lnTo>
                  <a:lnTo>
                    <a:pt x="201" y="631"/>
                  </a:lnTo>
                  <a:lnTo>
                    <a:pt x="172" y="618"/>
                  </a:lnTo>
                  <a:lnTo>
                    <a:pt x="146" y="600"/>
                  </a:lnTo>
                  <a:lnTo>
                    <a:pt x="120" y="582"/>
                  </a:lnTo>
                  <a:lnTo>
                    <a:pt x="97" y="560"/>
                  </a:lnTo>
                  <a:lnTo>
                    <a:pt x="76" y="537"/>
                  </a:lnTo>
                  <a:lnTo>
                    <a:pt x="57" y="512"/>
                  </a:lnTo>
                  <a:lnTo>
                    <a:pt x="39" y="485"/>
                  </a:lnTo>
                  <a:lnTo>
                    <a:pt x="26" y="457"/>
                  </a:lnTo>
                  <a:lnTo>
                    <a:pt x="15" y="426"/>
                  </a:lnTo>
                  <a:lnTo>
                    <a:pt x="11" y="411"/>
                  </a:lnTo>
                  <a:lnTo>
                    <a:pt x="7" y="395"/>
                  </a:lnTo>
                  <a:lnTo>
                    <a:pt x="4" y="379"/>
                  </a:lnTo>
                  <a:lnTo>
                    <a:pt x="2" y="361"/>
                  </a:lnTo>
                  <a:lnTo>
                    <a:pt x="0" y="345"/>
                  </a:lnTo>
                  <a:lnTo>
                    <a:pt x="0" y="328"/>
                  </a:lnTo>
                  <a:lnTo>
                    <a:pt x="0" y="328"/>
                  </a:lnTo>
                  <a:lnTo>
                    <a:pt x="0" y="312"/>
                  </a:lnTo>
                  <a:lnTo>
                    <a:pt x="2" y="294"/>
                  </a:lnTo>
                  <a:lnTo>
                    <a:pt x="4" y="278"/>
                  </a:lnTo>
                  <a:lnTo>
                    <a:pt x="7" y="262"/>
                  </a:lnTo>
                  <a:lnTo>
                    <a:pt x="11" y="246"/>
                  </a:lnTo>
                  <a:lnTo>
                    <a:pt x="15" y="231"/>
                  </a:lnTo>
                  <a:lnTo>
                    <a:pt x="26" y="200"/>
                  </a:lnTo>
                  <a:lnTo>
                    <a:pt x="39" y="172"/>
                  </a:lnTo>
                  <a:lnTo>
                    <a:pt x="57" y="145"/>
                  </a:lnTo>
                  <a:lnTo>
                    <a:pt x="76" y="120"/>
                  </a:lnTo>
                  <a:lnTo>
                    <a:pt x="97" y="95"/>
                  </a:lnTo>
                  <a:lnTo>
                    <a:pt x="120" y="75"/>
                  </a:lnTo>
                  <a:lnTo>
                    <a:pt x="146" y="56"/>
                  </a:lnTo>
                  <a:lnTo>
                    <a:pt x="172" y="39"/>
                  </a:lnTo>
                  <a:lnTo>
                    <a:pt x="201" y="26"/>
                  </a:lnTo>
                  <a:lnTo>
                    <a:pt x="231" y="15"/>
                  </a:lnTo>
                  <a:lnTo>
                    <a:pt x="246" y="9"/>
                  </a:lnTo>
                  <a:lnTo>
                    <a:pt x="262" y="7"/>
                  </a:lnTo>
                  <a:lnTo>
                    <a:pt x="279" y="4"/>
                  </a:lnTo>
                  <a:lnTo>
                    <a:pt x="296" y="1"/>
                  </a:lnTo>
                  <a:lnTo>
                    <a:pt x="312" y="0"/>
                  </a:lnTo>
                  <a:lnTo>
                    <a:pt x="330" y="0"/>
                  </a:lnTo>
                  <a:lnTo>
                    <a:pt x="330" y="0"/>
                  </a:lnTo>
                  <a:lnTo>
                    <a:pt x="346" y="0"/>
                  </a:lnTo>
                  <a:lnTo>
                    <a:pt x="363" y="1"/>
                  </a:lnTo>
                  <a:lnTo>
                    <a:pt x="379" y="4"/>
                  </a:lnTo>
                  <a:lnTo>
                    <a:pt x="395" y="7"/>
                  </a:lnTo>
                  <a:lnTo>
                    <a:pt x="411" y="9"/>
                  </a:lnTo>
                  <a:lnTo>
                    <a:pt x="426" y="15"/>
                  </a:lnTo>
                  <a:lnTo>
                    <a:pt x="457" y="26"/>
                  </a:lnTo>
                  <a:lnTo>
                    <a:pt x="485" y="39"/>
                  </a:lnTo>
                  <a:lnTo>
                    <a:pt x="512" y="56"/>
                  </a:lnTo>
                  <a:lnTo>
                    <a:pt x="538" y="75"/>
                  </a:lnTo>
                  <a:lnTo>
                    <a:pt x="562" y="95"/>
                  </a:lnTo>
                  <a:lnTo>
                    <a:pt x="582" y="120"/>
                  </a:lnTo>
                  <a:lnTo>
                    <a:pt x="601" y="145"/>
                  </a:lnTo>
                  <a:lnTo>
                    <a:pt x="618" y="172"/>
                  </a:lnTo>
                  <a:lnTo>
                    <a:pt x="632" y="200"/>
                  </a:lnTo>
                  <a:lnTo>
                    <a:pt x="643" y="231"/>
                  </a:lnTo>
                  <a:lnTo>
                    <a:pt x="648" y="246"/>
                  </a:lnTo>
                  <a:lnTo>
                    <a:pt x="651" y="262"/>
                  </a:lnTo>
                  <a:lnTo>
                    <a:pt x="655" y="278"/>
                  </a:lnTo>
                  <a:lnTo>
                    <a:pt x="656" y="294"/>
                  </a:lnTo>
                  <a:lnTo>
                    <a:pt x="657" y="312"/>
                  </a:lnTo>
                  <a:lnTo>
                    <a:pt x="657" y="328"/>
                  </a:lnTo>
                  <a:lnTo>
                    <a:pt x="657" y="328"/>
                  </a:lnTo>
                  <a:lnTo>
                    <a:pt x="657" y="345"/>
                  </a:lnTo>
                  <a:lnTo>
                    <a:pt x="656" y="361"/>
                  </a:lnTo>
                  <a:lnTo>
                    <a:pt x="655" y="379"/>
                  </a:lnTo>
                  <a:lnTo>
                    <a:pt x="651" y="395"/>
                  </a:lnTo>
                  <a:lnTo>
                    <a:pt x="648" y="411"/>
                  </a:lnTo>
                  <a:lnTo>
                    <a:pt x="643" y="426"/>
                  </a:lnTo>
                  <a:lnTo>
                    <a:pt x="632" y="457"/>
                  </a:lnTo>
                  <a:lnTo>
                    <a:pt x="618" y="485"/>
                  </a:lnTo>
                  <a:lnTo>
                    <a:pt x="601" y="512"/>
                  </a:lnTo>
                  <a:lnTo>
                    <a:pt x="582" y="537"/>
                  </a:lnTo>
                  <a:lnTo>
                    <a:pt x="562" y="560"/>
                  </a:lnTo>
                  <a:lnTo>
                    <a:pt x="538" y="582"/>
                  </a:lnTo>
                  <a:lnTo>
                    <a:pt x="512" y="600"/>
                  </a:lnTo>
                  <a:lnTo>
                    <a:pt x="485" y="618"/>
                  </a:lnTo>
                  <a:lnTo>
                    <a:pt x="457" y="631"/>
                  </a:lnTo>
                  <a:lnTo>
                    <a:pt x="426" y="642"/>
                  </a:lnTo>
                  <a:lnTo>
                    <a:pt x="411" y="647"/>
                  </a:lnTo>
                  <a:lnTo>
                    <a:pt x="395" y="650"/>
                  </a:lnTo>
                  <a:lnTo>
                    <a:pt x="379" y="653"/>
                  </a:lnTo>
                  <a:lnTo>
                    <a:pt x="363" y="656"/>
                  </a:lnTo>
                  <a:lnTo>
                    <a:pt x="346" y="657"/>
                  </a:lnTo>
                  <a:lnTo>
                    <a:pt x="330" y="657"/>
                  </a:lnTo>
                  <a:lnTo>
                    <a:pt x="330" y="657"/>
                  </a:lnTo>
                  <a:close/>
                  <a:moveTo>
                    <a:pt x="330" y="38"/>
                  </a:moveTo>
                  <a:lnTo>
                    <a:pt x="330" y="38"/>
                  </a:lnTo>
                  <a:lnTo>
                    <a:pt x="299" y="39"/>
                  </a:lnTo>
                  <a:lnTo>
                    <a:pt x="270" y="43"/>
                  </a:lnTo>
                  <a:lnTo>
                    <a:pt x="242" y="50"/>
                  </a:lnTo>
                  <a:lnTo>
                    <a:pt x="215" y="61"/>
                  </a:lnTo>
                  <a:lnTo>
                    <a:pt x="190" y="73"/>
                  </a:lnTo>
                  <a:lnTo>
                    <a:pt x="166" y="87"/>
                  </a:lnTo>
                  <a:lnTo>
                    <a:pt x="144" y="104"/>
                  </a:lnTo>
                  <a:lnTo>
                    <a:pt x="123" y="122"/>
                  </a:lnTo>
                  <a:lnTo>
                    <a:pt x="104" y="144"/>
                  </a:lnTo>
                  <a:lnTo>
                    <a:pt x="88" y="165"/>
                  </a:lnTo>
                  <a:lnTo>
                    <a:pt x="73" y="189"/>
                  </a:lnTo>
                  <a:lnTo>
                    <a:pt x="61" y="215"/>
                  </a:lnTo>
                  <a:lnTo>
                    <a:pt x="52" y="242"/>
                  </a:lnTo>
                  <a:lnTo>
                    <a:pt x="43" y="270"/>
                  </a:lnTo>
                  <a:lnTo>
                    <a:pt x="39" y="298"/>
                  </a:lnTo>
                  <a:lnTo>
                    <a:pt x="38" y="328"/>
                  </a:lnTo>
                  <a:lnTo>
                    <a:pt x="38" y="328"/>
                  </a:lnTo>
                  <a:lnTo>
                    <a:pt x="39" y="359"/>
                  </a:lnTo>
                  <a:lnTo>
                    <a:pt x="43" y="387"/>
                  </a:lnTo>
                  <a:lnTo>
                    <a:pt x="52" y="415"/>
                  </a:lnTo>
                  <a:lnTo>
                    <a:pt x="61" y="442"/>
                  </a:lnTo>
                  <a:lnTo>
                    <a:pt x="73" y="468"/>
                  </a:lnTo>
                  <a:lnTo>
                    <a:pt x="88" y="492"/>
                  </a:lnTo>
                  <a:lnTo>
                    <a:pt x="104" y="513"/>
                  </a:lnTo>
                  <a:lnTo>
                    <a:pt x="123" y="535"/>
                  </a:lnTo>
                  <a:lnTo>
                    <a:pt x="144" y="553"/>
                  </a:lnTo>
                  <a:lnTo>
                    <a:pt x="166" y="570"/>
                  </a:lnTo>
                  <a:lnTo>
                    <a:pt x="190" y="584"/>
                  </a:lnTo>
                  <a:lnTo>
                    <a:pt x="215" y="596"/>
                  </a:lnTo>
                  <a:lnTo>
                    <a:pt x="242" y="606"/>
                  </a:lnTo>
                  <a:lnTo>
                    <a:pt x="270" y="614"/>
                  </a:lnTo>
                  <a:lnTo>
                    <a:pt x="299" y="618"/>
                  </a:lnTo>
                  <a:lnTo>
                    <a:pt x="330" y="619"/>
                  </a:lnTo>
                  <a:lnTo>
                    <a:pt x="330" y="619"/>
                  </a:lnTo>
                  <a:lnTo>
                    <a:pt x="359" y="618"/>
                  </a:lnTo>
                  <a:lnTo>
                    <a:pt x="387" y="614"/>
                  </a:lnTo>
                  <a:lnTo>
                    <a:pt x="416" y="606"/>
                  </a:lnTo>
                  <a:lnTo>
                    <a:pt x="442" y="596"/>
                  </a:lnTo>
                  <a:lnTo>
                    <a:pt x="468" y="584"/>
                  </a:lnTo>
                  <a:lnTo>
                    <a:pt x="492" y="570"/>
                  </a:lnTo>
                  <a:lnTo>
                    <a:pt x="514" y="553"/>
                  </a:lnTo>
                  <a:lnTo>
                    <a:pt x="535" y="535"/>
                  </a:lnTo>
                  <a:lnTo>
                    <a:pt x="554" y="513"/>
                  </a:lnTo>
                  <a:lnTo>
                    <a:pt x="570" y="492"/>
                  </a:lnTo>
                  <a:lnTo>
                    <a:pt x="585" y="468"/>
                  </a:lnTo>
                  <a:lnTo>
                    <a:pt x="597" y="442"/>
                  </a:lnTo>
                  <a:lnTo>
                    <a:pt x="608" y="415"/>
                  </a:lnTo>
                  <a:lnTo>
                    <a:pt x="614" y="387"/>
                  </a:lnTo>
                  <a:lnTo>
                    <a:pt x="618" y="359"/>
                  </a:lnTo>
                  <a:lnTo>
                    <a:pt x="620" y="328"/>
                  </a:lnTo>
                  <a:lnTo>
                    <a:pt x="620" y="328"/>
                  </a:lnTo>
                  <a:lnTo>
                    <a:pt x="618" y="298"/>
                  </a:lnTo>
                  <a:lnTo>
                    <a:pt x="614" y="270"/>
                  </a:lnTo>
                  <a:lnTo>
                    <a:pt x="608" y="242"/>
                  </a:lnTo>
                  <a:lnTo>
                    <a:pt x="597" y="215"/>
                  </a:lnTo>
                  <a:lnTo>
                    <a:pt x="585" y="189"/>
                  </a:lnTo>
                  <a:lnTo>
                    <a:pt x="570" y="165"/>
                  </a:lnTo>
                  <a:lnTo>
                    <a:pt x="554" y="144"/>
                  </a:lnTo>
                  <a:lnTo>
                    <a:pt x="535" y="122"/>
                  </a:lnTo>
                  <a:lnTo>
                    <a:pt x="514" y="104"/>
                  </a:lnTo>
                  <a:lnTo>
                    <a:pt x="492" y="87"/>
                  </a:lnTo>
                  <a:lnTo>
                    <a:pt x="468" y="73"/>
                  </a:lnTo>
                  <a:lnTo>
                    <a:pt x="442" y="61"/>
                  </a:lnTo>
                  <a:lnTo>
                    <a:pt x="416" y="50"/>
                  </a:lnTo>
                  <a:lnTo>
                    <a:pt x="387" y="43"/>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pic>
          <p:nvPicPr>
            <p:cNvPr id="40" name="Graphic 39" descr="Home with solid fill">
              <a:extLst>
                <a:ext uri="{FF2B5EF4-FFF2-40B4-BE49-F238E27FC236}">
                  <a16:creationId xmlns:a16="http://schemas.microsoft.com/office/drawing/2014/main" id="{81646D13-2373-2990-2FA2-93A5BA5D97C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9810" y="2074425"/>
              <a:ext cx="365760" cy="365760"/>
            </a:xfrm>
            <a:prstGeom prst="rect">
              <a:avLst/>
            </a:prstGeom>
          </p:spPr>
        </p:pic>
      </p:grpSp>
      <p:pic>
        <p:nvPicPr>
          <p:cNvPr id="45" name="Graphic 44" descr="Handshake with solid fill">
            <a:extLst>
              <a:ext uri="{FF2B5EF4-FFF2-40B4-BE49-F238E27FC236}">
                <a16:creationId xmlns:a16="http://schemas.microsoft.com/office/drawing/2014/main" id="{5D105D54-4757-1741-5048-62470BF4C4A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8454" y="4522801"/>
            <a:ext cx="365760" cy="365760"/>
          </a:xfrm>
          <a:prstGeom prst="rect">
            <a:avLst/>
          </a:prstGeom>
        </p:spPr>
      </p:pic>
      <p:sp>
        <p:nvSpPr>
          <p:cNvPr id="2" name="Rectangle 1">
            <a:extLst>
              <a:ext uri="{FF2B5EF4-FFF2-40B4-BE49-F238E27FC236}">
                <a16:creationId xmlns:a16="http://schemas.microsoft.com/office/drawing/2014/main" id="{C4077B64-487F-D8F2-CEC9-AC1CDBC02DED}"/>
              </a:ext>
            </a:extLst>
          </p:cNvPr>
          <p:cNvSpPr/>
          <p:nvPr/>
        </p:nvSpPr>
        <p:spPr>
          <a:xfrm>
            <a:off x="8269371" y="2106639"/>
            <a:ext cx="1616649" cy="830425"/>
          </a:xfrm>
          <a:prstGeom prst="rect">
            <a:avLst/>
          </a:prstGeom>
          <a:noFill/>
          <a:ln w="28575">
            <a:solidFill>
              <a:srgbClr val="22326E"/>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Ubuntu" charset="0"/>
                <a:cs typeface="Ubuntu" charset="0"/>
              </a:rPr>
              <a:t>Budget Sheet</a:t>
            </a:r>
          </a:p>
        </p:txBody>
      </p:sp>
      <p:sp>
        <p:nvSpPr>
          <p:cNvPr id="3" name="Rectangle 2">
            <a:extLst>
              <a:ext uri="{FF2B5EF4-FFF2-40B4-BE49-F238E27FC236}">
                <a16:creationId xmlns:a16="http://schemas.microsoft.com/office/drawing/2014/main" id="{DEAD3F21-1D51-F030-8BD7-3F2246A43955}"/>
              </a:ext>
            </a:extLst>
          </p:cNvPr>
          <p:cNvSpPr/>
          <p:nvPr/>
        </p:nvSpPr>
        <p:spPr>
          <a:xfrm>
            <a:off x="6262903" y="2110521"/>
            <a:ext cx="1616649" cy="830425"/>
          </a:xfrm>
          <a:prstGeom prst="rect">
            <a:avLst/>
          </a:prstGeom>
          <a:noFill/>
          <a:ln w="28575">
            <a:solidFill>
              <a:srgbClr val="22326E"/>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Ubuntu" charset="0"/>
                <a:cs typeface="Ubuntu" charset="0"/>
              </a:rPr>
              <a:t>Transition Plan Instructions</a:t>
            </a:r>
          </a:p>
        </p:txBody>
      </p:sp>
      <p:cxnSp>
        <p:nvCxnSpPr>
          <p:cNvPr id="18" name="Straight Arrow Connector 17">
            <a:extLst>
              <a:ext uri="{FF2B5EF4-FFF2-40B4-BE49-F238E27FC236}">
                <a16:creationId xmlns:a16="http://schemas.microsoft.com/office/drawing/2014/main" id="{18C1FD74-23C4-DF0D-A164-F40A47E5D9A8}"/>
              </a:ext>
            </a:extLst>
          </p:cNvPr>
          <p:cNvCxnSpPr>
            <a:cxnSpLocks/>
          </p:cNvCxnSpPr>
          <p:nvPr/>
        </p:nvCxnSpPr>
        <p:spPr>
          <a:xfrm>
            <a:off x="5674429" y="2521852"/>
            <a:ext cx="45083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CC2A7EFA-970B-DFD5-00F5-9CF430DF0854}"/>
              </a:ext>
            </a:extLst>
          </p:cNvPr>
          <p:cNvSpPr/>
          <p:nvPr/>
        </p:nvSpPr>
        <p:spPr>
          <a:xfrm>
            <a:off x="10267942" y="4195443"/>
            <a:ext cx="1616649" cy="830425"/>
          </a:xfrm>
          <a:prstGeom prst="rect">
            <a:avLst/>
          </a:prstGeom>
          <a:solidFill>
            <a:schemeClr val="accent2">
              <a:lumMod val="20000"/>
              <a:lumOff val="80000"/>
            </a:schemeClr>
          </a:solidFill>
          <a:ln w="28575">
            <a:solidFill>
              <a:srgbClr val="22326E"/>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Ubuntu" charset="0"/>
                <a:cs typeface="Ubuntu" charset="0"/>
              </a:rPr>
              <a:t>Template B: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Ubuntu" charset="0"/>
                <a:cs typeface="Ubuntu" charset="0"/>
              </a:rPr>
              <a:t>Day &amp; Employment</a:t>
            </a:r>
          </a:p>
        </p:txBody>
      </p:sp>
      <p:sp>
        <p:nvSpPr>
          <p:cNvPr id="38" name="Rectangle 37">
            <a:extLst>
              <a:ext uri="{FF2B5EF4-FFF2-40B4-BE49-F238E27FC236}">
                <a16:creationId xmlns:a16="http://schemas.microsoft.com/office/drawing/2014/main" id="{FEC1077E-D14E-6063-5710-7934BC88118E}"/>
              </a:ext>
            </a:extLst>
          </p:cNvPr>
          <p:cNvSpPr/>
          <p:nvPr/>
        </p:nvSpPr>
        <p:spPr>
          <a:xfrm>
            <a:off x="8269371" y="4191562"/>
            <a:ext cx="1616649" cy="830425"/>
          </a:xfrm>
          <a:prstGeom prst="rect">
            <a:avLst/>
          </a:prstGeom>
          <a:noFill/>
          <a:ln w="28575">
            <a:solidFill>
              <a:srgbClr val="22326E"/>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Ubuntu" charset="0"/>
                <a:cs typeface="Ubuntu" charset="0"/>
              </a:rPr>
              <a:t>Budget Sheet</a:t>
            </a:r>
          </a:p>
        </p:txBody>
      </p:sp>
      <p:sp>
        <p:nvSpPr>
          <p:cNvPr id="39" name="Rectangle 38">
            <a:extLst>
              <a:ext uri="{FF2B5EF4-FFF2-40B4-BE49-F238E27FC236}">
                <a16:creationId xmlns:a16="http://schemas.microsoft.com/office/drawing/2014/main" id="{89BC1EB5-9ED8-CEE5-C2CD-52209E0B9C7A}"/>
              </a:ext>
            </a:extLst>
          </p:cNvPr>
          <p:cNvSpPr/>
          <p:nvPr/>
        </p:nvSpPr>
        <p:spPr>
          <a:xfrm>
            <a:off x="6259287" y="4195443"/>
            <a:ext cx="1616649" cy="830425"/>
          </a:xfrm>
          <a:prstGeom prst="rect">
            <a:avLst/>
          </a:prstGeom>
          <a:noFill/>
          <a:ln w="28575">
            <a:solidFill>
              <a:srgbClr val="22326E"/>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Ubuntu" charset="0"/>
                <a:cs typeface="Ubuntu" charset="0"/>
              </a:rPr>
              <a:t>Transition Plan Instructions</a:t>
            </a:r>
          </a:p>
        </p:txBody>
      </p:sp>
      <p:cxnSp>
        <p:nvCxnSpPr>
          <p:cNvPr id="42" name="Straight Arrow Connector 41">
            <a:extLst>
              <a:ext uri="{FF2B5EF4-FFF2-40B4-BE49-F238E27FC236}">
                <a16:creationId xmlns:a16="http://schemas.microsoft.com/office/drawing/2014/main" id="{5AADB505-A9F9-D2B8-5893-54B7DCA4DC83}"/>
              </a:ext>
            </a:extLst>
          </p:cNvPr>
          <p:cNvCxnSpPr>
            <a:cxnSpLocks/>
          </p:cNvCxnSpPr>
          <p:nvPr/>
        </p:nvCxnSpPr>
        <p:spPr>
          <a:xfrm>
            <a:off x="5674429" y="4606775"/>
            <a:ext cx="448056"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 name="Cross 4">
            <a:extLst>
              <a:ext uri="{FF2B5EF4-FFF2-40B4-BE49-F238E27FC236}">
                <a16:creationId xmlns:a16="http://schemas.microsoft.com/office/drawing/2014/main" id="{C08E85C0-FC1C-285E-A31D-DAFF2AFDB795}"/>
              </a:ext>
            </a:extLst>
          </p:cNvPr>
          <p:cNvSpPr/>
          <p:nvPr/>
        </p:nvSpPr>
        <p:spPr>
          <a:xfrm>
            <a:off x="9988257" y="2437664"/>
            <a:ext cx="182880" cy="182880"/>
          </a:xfrm>
          <a:prstGeom prst="plus">
            <a:avLst>
              <a:gd name="adj" fmla="val 369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Cross 8">
            <a:extLst>
              <a:ext uri="{FF2B5EF4-FFF2-40B4-BE49-F238E27FC236}">
                <a16:creationId xmlns:a16="http://schemas.microsoft.com/office/drawing/2014/main" id="{DFF96F2F-05B7-A30B-91B5-9252DB7637C7}"/>
              </a:ext>
            </a:extLst>
          </p:cNvPr>
          <p:cNvSpPr/>
          <p:nvPr/>
        </p:nvSpPr>
        <p:spPr>
          <a:xfrm>
            <a:off x="9985541" y="4524915"/>
            <a:ext cx="182880" cy="182880"/>
          </a:xfrm>
          <a:prstGeom prst="plus">
            <a:avLst>
              <a:gd name="adj" fmla="val 369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74676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0272FB6-DC83-49E8-83B0-ABAE93C962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95576" y="200175"/>
            <a:ext cx="764009" cy="1011099"/>
          </a:xfrm>
          <a:prstGeom prst="rect">
            <a:avLst/>
          </a:prstGeom>
        </p:spPr>
      </p:pic>
      <p:pic>
        <p:nvPicPr>
          <p:cNvPr id="4" name="Picture 2" descr="CT Department of Developmental Disabilities | LinkedIn">
            <a:extLst>
              <a:ext uri="{FF2B5EF4-FFF2-40B4-BE49-F238E27FC236}">
                <a16:creationId xmlns:a16="http://schemas.microsoft.com/office/drawing/2014/main" id="{5517EC61-3D94-4854-8951-6FCEDAB51E4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6295" y="200175"/>
            <a:ext cx="764009" cy="24440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35BC91F4-2E40-4374-98E4-04D6CFB0D7C5}"/>
              </a:ext>
            </a:extLst>
          </p:cNvPr>
          <p:cNvSpPr/>
          <p:nvPr/>
        </p:nvSpPr>
        <p:spPr>
          <a:xfrm>
            <a:off x="0" y="3150703"/>
            <a:ext cx="9422296" cy="904461"/>
          </a:xfrm>
          <a:prstGeom prst="rect">
            <a:avLst/>
          </a:prstGeom>
          <a:noFill/>
          <a:ln w="28575">
            <a:solidFill>
              <a:srgbClr val="E03C3A"/>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b"/>
          <a:lstStyle/>
          <a:p>
            <a:r>
              <a:rPr lang="en-US" sz="4800">
                <a:solidFill>
                  <a:schemeClr val="tx1"/>
                </a:solidFill>
              </a:rPr>
              <a:t> Review &amp; Approval Process</a:t>
            </a:r>
            <a:endParaRPr lang="en-US" sz="4800">
              <a:solidFill>
                <a:schemeClr val="tx1"/>
              </a:solidFill>
              <a:cs typeface="Calibri"/>
            </a:endParaRPr>
          </a:p>
        </p:txBody>
      </p:sp>
      <p:sp>
        <p:nvSpPr>
          <p:cNvPr id="6" name="Rectangle 5">
            <a:extLst>
              <a:ext uri="{FF2B5EF4-FFF2-40B4-BE49-F238E27FC236}">
                <a16:creationId xmlns:a16="http://schemas.microsoft.com/office/drawing/2014/main" id="{907CD1EF-DCD2-48D7-AD53-907055C7D114}"/>
              </a:ext>
            </a:extLst>
          </p:cNvPr>
          <p:cNvSpPr/>
          <p:nvPr/>
        </p:nvSpPr>
        <p:spPr>
          <a:xfrm>
            <a:off x="7430946" y="3150702"/>
            <a:ext cx="1991349" cy="904461"/>
          </a:xfrm>
          <a:prstGeom prst="rect">
            <a:avLst/>
          </a:prstGeom>
          <a:solidFill>
            <a:srgbClr val="E03C3A"/>
          </a:solidFill>
          <a:ln w="28575">
            <a:solidFill>
              <a:srgbClr val="E03C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6000">
              <a:solidFill>
                <a:schemeClr val="tx1"/>
              </a:solidFill>
            </a:endParaRPr>
          </a:p>
        </p:txBody>
      </p:sp>
      <p:cxnSp>
        <p:nvCxnSpPr>
          <p:cNvPr id="8" name="Straight Connector 7">
            <a:extLst>
              <a:ext uri="{FF2B5EF4-FFF2-40B4-BE49-F238E27FC236}">
                <a16:creationId xmlns:a16="http://schemas.microsoft.com/office/drawing/2014/main" id="{EA62C180-5CC1-4241-80F4-48F511C1CAEC}"/>
              </a:ext>
            </a:extLst>
          </p:cNvPr>
          <p:cNvCxnSpPr>
            <a:cxnSpLocks/>
          </p:cNvCxnSpPr>
          <p:nvPr/>
        </p:nvCxnSpPr>
        <p:spPr>
          <a:xfrm>
            <a:off x="397566" y="4353339"/>
            <a:ext cx="3856383" cy="0"/>
          </a:xfrm>
          <a:prstGeom prst="line">
            <a:avLst/>
          </a:prstGeom>
          <a:ln w="19050">
            <a:solidFill>
              <a:srgbClr val="E03C3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9294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Straight Arrow Connector 23">
            <a:extLst>
              <a:ext uri="{FF2B5EF4-FFF2-40B4-BE49-F238E27FC236}">
                <a16:creationId xmlns:a16="http://schemas.microsoft.com/office/drawing/2014/main" id="{169B98EC-08CB-D50D-E6D9-565CB3196F51}"/>
              </a:ext>
            </a:extLst>
          </p:cNvPr>
          <p:cNvCxnSpPr>
            <a:endCxn id="191" idx="2"/>
          </p:cNvCxnSpPr>
          <p:nvPr/>
        </p:nvCxnSpPr>
        <p:spPr>
          <a:xfrm flipV="1">
            <a:off x="8089110" y="3215844"/>
            <a:ext cx="2091642" cy="1813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B9DC2212-CF8A-604A-7ECA-305E90C39E85}"/>
              </a:ext>
            </a:extLst>
          </p:cNvPr>
          <p:cNvSpPr txBox="1"/>
          <p:nvPr/>
        </p:nvSpPr>
        <p:spPr>
          <a:xfrm>
            <a:off x="501652" y="317503"/>
            <a:ext cx="8300932"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black"/>
                </a:solidFill>
                <a:effectLst/>
                <a:uLnTx/>
                <a:uFillTx/>
                <a:latin typeface="Calibri" panose="020F0502020204030204"/>
                <a:ea typeface="+mn-ea"/>
                <a:cs typeface="+mn-cs"/>
              </a:rPr>
              <a:t>Transition Plan Process</a:t>
            </a:r>
          </a:p>
        </p:txBody>
      </p:sp>
      <p:sp>
        <p:nvSpPr>
          <p:cNvPr id="125" name="Oval 60">
            <a:extLst>
              <a:ext uri="{FF2B5EF4-FFF2-40B4-BE49-F238E27FC236}">
                <a16:creationId xmlns:a16="http://schemas.microsoft.com/office/drawing/2014/main" id="{D0A9B39E-B5D5-072F-A94D-BA7B59CBD91F}"/>
              </a:ext>
            </a:extLst>
          </p:cNvPr>
          <p:cNvSpPr>
            <a:spLocks noChangeArrowheads="1"/>
          </p:cNvSpPr>
          <p:nvPr/>
        </p:nvSpPr>
        <p:spPr bwMode="auto">
          <a:xfrm>
            <a:off x="5624561" y="2712924"/>
            <a:ext cx="1005840" cy="100584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9" name="Graphic 4">
            <a:extLst>
              <a:ext uri="{FF2B5EF4-FFF2-40B4-BE49-F238E27FC236}">
                <a16:creationId xmlns:a16="http://schemas.microsoft.com/office/drawing/2014/main" id="{2A52F82F-02AD-4527-F060-AF0048170E87}"/>
              </a:ext>
            </a:extLst>
          </p:cNvPr>
          <p:cNvSpPr/>
          <p:nvPr/>
        </p:nvSpPr>
        <p:spPr>
          <a:xfrm>
            <a:off x="5799010" y="2887682"/>
            <a:ext cx="656943" cy="656324"/>
          </a:xfrm>
          <a:custGeom>
            <a:avLst/>
            <a:gdLst>
              <a:gd name="connsiteX0" fmla="*/ 180835 w 361674"/>
              <a:gd name="connsiteY0" fmla="*/ 0 h 361333"/>
              <a:gd name="connsiteX1" fmla="*/ 0 w 361674"/>
              <a:gd name="connsiteY1" fmla="*/ 180667 h 361333"/>
              <a:gd name="connsiteX2" fmla="*/ 180835 w 361674"/>
              <a:gd name="connsiteY2" fmla="*/ 361333 h 361333"/>
              <a:gd name="connsiteX3" fmla="*/ 361670 w 361674"/>
              <a:gd name="connsiteY3" fmla="*/ 180667 h 361333"/>
              <a:gd name="connsiteX4" fmla="*/ 180835 w 361674"/>
              <a:gd name="connsiteY4" fmla="*/ 0 h 361333"/>
              <a:gd name="connsiteX5" fmla="*/ 180835 w 361674"/>
              <a:gd name="connsiteY5" fmla="*/ 349204 h 361333"/>
              <a:gd name="connsiteX6" fmla="*/ 12780 w 361674"/>
              <a:gd name="connsiteY6" fmla="*/ 181305 h 361333"/>
              <a:gd name="connsiteX7" fmla="*/ 180835 w 361674"/>
              <a:gd name="connsiteY7" fmla="*/ 13406 h 361333"/>
              <a:gd name="connsiteX8" fmla="*/ 348890 w 361674"/>
              <a:gd name="connsiteY8" fmla="*/ 181305 h 361333"/>
              <a:gd name="connsiteX9" fmla="*/ 180835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5" y="0"/>
                </a:moveTo>
                <a:cubicBezTo>
                  <a:pt x="80513" y="0"/>
                  <a:pt x="0" y="81077"/>
                  <a:pt x="0" y="180667"/>
                </a:cubicBezTo>
                <a:cubicBezTo>
                  <a:pt x="0" y="280895"/>
                  <a:pt x="81152" y="361333"/>
                  <a:pt x="180835" y="361333"/>
                </a:cubicBezTo>
                <a:cubicBezTo>
                  <a:pt x="281157" y="361333"/>
                  <a:pt x="361670" y="280257"/>
                  <a:pt x="361670" y="180667"/>
                </a:cubicBezTo>
                <a:cubicBezTo>
                  <a:pt x="362310" y="81077"/>
                  <a:pt x="281157" y="0"/>
                  <a:pt x="180835" y="0"/>
                </a:cubicBezTo>
                <a:close/>
                <a:moveTo>
                  <a:pt x="180835" y="349204"/>
                </a:moveTo>
                <a:cubicBezTo>
                  <a:pt x="88181" y="349204"/>
                  <a:pt x="12780" y="273873"/>
                  <a:pt x="12780" y="181305"/>
                </a:cubicBezTo>
                <a:cubicBezTo>
                  <a:pt x="12780" y="88737"/>
                  <a:pt x="88181" y="13406"/>
                  <a:pt x="180835" y="13406"/>
                </a:cubicBezTo>
                <a:cubicBezTo>
                  <a:pt x="273489" y="13406"/>
                  <a:pt x="348890" y="88737"/>
                  <a:pt x="348890" y="181305"/>
                </a:cubicBezTo>
                <a:cubicBezTo>
                  <a:pt x="348890" y="273873"/>
                  <a:pt x="273489" y="349204"/>
                  <a:pt x="180835" y="349204"/>
                </a:cubicBezTo>
                <a:close/>
              </a:path>
            </a:pathLst>
          </a:custGeom>
          <a:solidFill>
            <a:schemeClr val="bg1"/>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B1198F40-B10C-ADD6-35FC-1F556EFCAD0C}"/>
              </a:ext>
            </a:extLst>
          </p:cNvPr>
          <p:cNvGrpSpPr/>
          <p:nvPr/>
        </p:nvGrpSpPr>
        <p:grpSpPr>
          <a:xfrm>
            <a:off x="7892752" y="2712924"/>
            <a:ext cx="1005840" cy="1005840"/>
            <a:chOff x="7317078" y="2423147"/>
            <a:chExt cx="1005840" cy="1005840"/>
          </a:xfrm>
        </p:grpSpPr>
        <p:sp>
          <p:nvSpPr>
            <p:cNvPr id="127" name="Oval 61">
              <a:extLst>
                <a:ext uri="{FF2B5EF4-FFF2-40B4-BE49-F238E27FC236}">
                  <a16:creationId xmlns:a16="http://schemas.microsoft.com/office/drawing/2014/main" id="{F7165F0C-DC93-5D86-2634-CAC3F5C5F40A}"/>
                </a:ext>
              </a:extLst>
            </p:cNvPr>
            <p:cNvSpPr>
              <a:spLocks noChangeArrowheads="1"/>
            </p:cNvSpPr>
            <p:nvPr/>
          </p:nvSpPr>
          <p:spPr bwMode="auto">
            <a:xfrm>
              <a:off x="7317078" y="2423147"/>
              <a:ext cx="1005840" cy="1005840"/>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4" name="Graphic 4">
              <a:extLst>
                <a:ext uri="{FF2B5EF4-FFF2-40B4-BE49-F238E27FC236}">
                  <a16:creationId xmlns:a16="http://schemas.microsoft.com/office/drawing/2014/main" id="{364D4C08-BD68-AC3A-85B3-A4BC0818AC38}"/>
                </a:ext>
              </a:extLst>
            </p:cNvPr>
            <p:cNvSpPr/>
            <p:nvPr/>
          </p:nvSpPr>
          <p:spPr>
            <a:xfrm>
              <a:off x="7491527" y="2597905"/>
              <a:ext cx="656943" cy="656324"/>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09 w 362313"/>
                <a:gd name="connsiteY3" fmla="*/ 181305 h 361971"/>
                <a:gd name="connsiteX4" fmla="*/ 362309 w 362313"/>
                <a:gd name="connsiteY4" fmla="*/ 181305 h 361971"/>
                <a:gd name="connsiteX5" fmla="*/ 181474 w 362313"/>
                <a:gd name="connsiteY5" fmla="*/ 0 h 361971"/>
                <a:gd name="connsiteX6" fmla="*/ 181474 w 362313"/>
                <a:gd name="connsiteY6" fmla="*/ 348565 h 361971"/>
                <a:gd name="connsiteX7" fmla="*/ 12780 w 362313"/>
                <a:gd name="connsiteY7" fmla="*/ 180667 h 361971"/>
                <a:gd name="connsiteX8" fmla="*/ 180835 w 362313"/>
                <a:gd name="connsiteY8" fmla="*/ 12130 h 361971"/>
                <a:gd name="connsiteX9" fmla="*/ 349529 w 362313"/>
                <a:gd name="connsiteY9" fmla="*/ 180028 h 361971"/>
                <a:gd name="connsiteX10" fmla="*/ 349529 w 362313"/>
                <a:gd name="connsiteY10" fmla="*/ 180028 h 361971"/>
                <a:gd name="connsiteX11" fmla="*/ 181474 w 362313"/>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948" y="80438"/>
                    <a:pt x="281796" y="0"/>
                    <a:pt x="181474" y="0"/>
                  </a:cubicBezTo>
                  <a:close/>
                  <a:moveTo>
                    <a:pt x="181474" y="348565"/>
                  </a:moveTo>
                  <a:cubicBezTo>
                    <a:pt x="88181" y="348565"/>
                    <a:pt x="12780" y="273235"/>
                    <a:pt x="12780" y="180667"/>
                  </a:cubicBezTo>
                  <a:cubicBezTo>
                    <a:pt x="12780" y="87461"/>
                    <a:pt x="88181" y="12130"/>
                    <a:pt x="180835" y="12130"/>
                  </a:cubicBezTo>
                  <a:cubicBezTo>
                    <a:pt x="274128" y="12130"/>
                    <a:pt x="349529" y="87461"/>
                    <a:pt x="349529" y="180028"/>
                  </a:cubicBezTo>
                  <a:cubicBezTo>
                    <a:pt x="349529" y="180028"/>
                    <a:pt x="349529" y="180028"/>
                    <a:pt x="349529" y="180028"/>
                  </a:cubicBezTo>
                  <a:cubicBezTo>
                    <a:pt x="350168" y="273235"/>
                    <a:pt x="274767" y="348565"/>
                    <a:pt x="181474" y="348565"/>
                  </a:cubicBezTo>
                  <a:close/>
                </a:path>
              </a:pathLst>
            </a:custGeom>
            <a:solidFill>
              <a:schemeClr val="bg1"/>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66" name="Google Shape;1665;p111">
            <a:extLst>
              <a:ext uri="{FF2B5EF4-FFF2-40B4-BE49-F238E27FC236}">
                <a16:creationId xmlns:a16="http://schemas.microsoft.com/office/drawing/2014/main" id="{7A675423-7877-6911-ACD4-E6B6B74AF8CD}"/>
              </a:ext>
            </a:extLst>
          </p:cNvPr>
          <p:cNvSpPr/>
          <p:nvPr/>
        </p:nvSpPr>
        <p:spPr>
          <a:xfrm>
            <a:off x="5001054" y="1651899"/>
            <a:ext cx="2279068" cy="921694"/>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rPr>
              <a:t>Provider submits STEP Transition Plan to regional Resource Administrator</a:t>
            </a:r>
            <a:endParaRPr kumimoji="0" lang="en-US" sz="1800" b="1" i="0" u="none" strike="noStrike" kern="1200" cap="none" spc="0" normalizeH="0" baseline="0" noProof="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endParaRPr>
          </a:p>
        </p:txBody>
      </p:sp>
      <p:sp>
        <p:nvSpPr>
          <p:cNvPr id="168" name="Google Shape;1669;p111">
            <a:extLst>
              <a:ext uri="{FF2B5EF4-FFF2-40B4-BE49-F238E27FC236}">
                <a16:creationId xmlns:a16="http://schemas.microsoft.com/office/drawing/2014/main" id="{8E4C6ED0-4420-DEF9-4F54-97B29289A050}"/>
              </a:ext>
            </a:extLst>
          </p:cNvPr>
          <p:cNvSpPr/>
          <p:nvPr/>
        </p:nvSpPr>
        <p:spPr>
          <a:xfrm>
            <a:off x="7249394" y="2059355"/>
            <a:ext cx="2279068" cy="601456"/>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rPr>
              <a:t>Regional review of the submitted plan </a:t>
            </a:r>
            <a:endParaRPr kumimoji="0" lang="en-US" sz="1800" b="1" i="0" u="none" strike="noStrike" kern="1200" cap="none" spc="0" normalizeH="0" baseline="0" noProof="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endParaRPr>
          </a:p>
        </p:txBody>
      </p:sp>
      <p:sp>
        <p:nvSpPr>
          <p:cNvPr id="186" name="Oval 60">
            <a:extLst>
              <a:ext uri="{FF2B5EF4-FFF2-40B4-BE49-F238E27FC236}">
                <a16:creationId xmlns:a16="http://schemas.microsoft.com/office/drawing/2014/main" id="{9A877630-2C03-2457-E9F2-EF83026FC2E6}"/>
              </a:ext>
            </a:extLst>
          </p:cNvPr>
          <p:cNvSpPr>
            <a:spLocks noChangeArrowheads="1"/>
          </p:cNvSpPr>
          <p:nvPr/>
        </p:nvSpPr>
        <p:spPr bwMode="auto">
          <a:xfrm>
            <a:off x="3111929" y="2729515"/>
            <a:ext cx="1005840" cy="1005840"/>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7" name="Graphic 4">
            <a:extLst>
              <a:ext uri="{FF2B5EF4-FFF2-40B4-BE49-F238E27FC236}">
                <a16:creationId xmlns:a16="http://schemas.microsoft.com/office/drawing/2014/main" id="{4625BF56-AC37-D12F-26A2-AB9FA2624190}"/>
              </a:ext>
            </a:extLst>
          </p:cNvPr>
          <p:cNvSpPr/>
          <p:nvPr/>
        </p:nvSpPr>
        <p:spPr>
          <a:xfrm>
            <a:off x="3286378" y="2904273"/>
            <a:ext cx="656943" cy="656324"/>
          </a:xfrm>
          <a:custGeom>
            <a:avLst/>
            <a:gdLst>
              <a:gd name="connsiteX0" fmla="*/ 180835 w 361674"/>
              <a:gd name="connsiteY0" fmla="*/ 0 h 361333"/>
              <a:gd name="connsiteX1" fmla="*/ 0 w 361674"/>
              <a:gd name="connsiteY1" fmla="*/ 180667 h 361333"/>
              <a:gd name="connsiteX2" fmla="*/ 180835 w 361674"/>
              <a:gd name="connsiteY2" fmla="*/ 361333 h 361333"/>
              <a:gd name="connsiteX3" fmla="*/ 361670 w 361674"/>
              <a:gd name="connsiteY3" fmla="*/ 180667 h 361333"/>
              <a:gd name="connsiteX4" fmla="*/ 180835 w 361674"/>
              <a:gd name="connsiteY4" fmla="*/ 0 h 361333"/>
              <a:gd name="connsiteX5" fmla="*/ 180835 w 361674"/>
              <a:gd name="connsiteY5" fmla="*/ 349204 h 361333"/>
              <a:gd name="connsiteX6" fmla="*/ 12780 w 361674"/>
              <a:gd name="connsiteY6" fmla="*/ 181305 h 361333"/>
              <a:gd name="connsiteX7" fmla="*/ 180835 w 361674"/>
              <a:gd name="connsiteY7" fmla="*/ 13406 h 361333"/>
              <a:gd name="connsiteX8" fmla="*/ 348890 w 361674"/>
              <a:gd name="connsiteY8" fmla="*/ 181305 h 361333"/>
              <a:gd name="connsiteX9" fmla="*/ 180835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5" y="0"/>
                </a:moveTo>
                <a:cubicBezTo>
                  <a:pt x="80513" y="0"/>
                  <a:pt x="0" y="81077"/>
                  <a:pt x="0" y="180667"/>
                </a:cubicBezTo>
                <a:cubicBezTo>
                  <a:pt x="0" y="280895"/>
                  <a:pt x="81152" y="361333"/>
                  <a:pt x="180835" y="361333"/>
                </a:cubicBezTo>
                <a:cubicBezTo>
                  <a:pt x="281157" y="361333"/>
                  <a:pt x="361670" y="280257"/>
                  <a:pt x="361670" y="180667"/>
                </a:cubicBezTo>
                <a:cubicBezTo>
                  <a:pt x="362310" y="81077"/>
                  <a:pt x="281157" y="0"/>
                  <a:pt x="180835" y="0"/>
                </a:cubicBezTo>
                <a:close/>
                <a:moveTo>
                  <a:pt x="180835" y="349204"/>
                </a:moveTo>
                <a:cubicBezTo>
                  <a:pt x="88181" y="349204"/>
                  <a:pt x="12780" y="273873"/>
                  <a:pt x="12780" y="181305"/>
                </a:cubicBezTo>
                <a:cubicBezTo>
                  <a:pt x="12780" y="88737"/>
                  <a:pt x="88181" y="13406"/>
                  <a:pt x="180835" y="13406"/>
                </a:cubicBezTo>
                <a:cubicBezTo>
                  <a:pt x="273489" y="13406"/>
                  <a:pt x="348890" y="88737"/>
                  <a:pt x="348890" y="181305"/>
                </a:cubicBezTo>
                <a:cubicBezTo>
                  <a:pt x="348890" y="273873"/>
                  <a:pt x="273489" y="349204"/>
                  <a:pt x="180835" y="349204"/>
                </a:cubicBezTo>
                <a:close/>
              </a:path>
            </a:pathLst>
          </a:custGeom>
          <a:solidFill>
            <a:schemeClr val="bg1"/>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9" name="Google Shape;1665;p111">
            <a:extLst>
              <a:ext uri="{FF2B5EF4-FFF2-40B4-BE49-F238E27FC236}">
                <a16:creationId xmlns:a16="http://schemas.microsoft.com/office/drawing/2014/main" id="{B1C8395E-5E97-99CD-B065-8CF1683B11E1}"/>
              </a:ext>
            </a:extLst>
          </p:cNvPr>
          <p:cNvSpPr/>
          <p:nvPr/>
        </p:nvSpPr>
        <p:spPr>
          <a:xfrm>
            <a:off x="2460240" y="1949364"/>
            <a:ext cx="2279068" cy="837663"/>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rPr>
              <a:t>Provider develops a STEP Transition Plan</a:t>
            </a:r>
            <a:endParaRPr kumimoji="0" lang="en-US" sz="1800" b="1" i="0" u="none" strike="noStrike" kern="1200" cap="none" spc="0" normalizeH="0" baseline="0" noProof="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endParaRPr>
          </a:p>
        </p:txBody>
      </p:sp>
      <p:grpSp>
        <p:nvGrpSpPr>
          <p:cNvPr id="7" name="Group 6">
            <a:extLst>
              <a:ext uri="{FF2B5EF4-FFF2-40B4-BE49-F238E27FC236}">
                <a16:creationId xmlns:a16="http://schemas.microsoft.com/office/drawing/2014/main" id="{739E1711-5840-C5CB-F7A9-6145A80C590C}"/>
              </a:ext>
            </a:extLst>
          </p:cNvPr>
          <p:cNvGrpSpPr/>
          <p:nvPr/>
        </p:nvGrpSpPr>
        <p:grpSpPr>
          <a:xfrm>
            <a:off x="10180752" y="2712924"/>
            <a:ext cx="1005840" cy="1005840"/>
            <a:chOff x="10403149" y="2405015"/>
            <a:chExt cx="1005840" cy="1005840"/>
          </a:xfrm>
        </p:grpSpPr>
        <p:sp>
          <p:nvSpPr>
            <p:cNvPr id="191" name="Oval 58">
              <a:extLst>
                <a:ext uri="{FF2B5EF4-FFF2-40B4-BE49-F238E27FC236}">
                  <a16:creationId xmlns:a16="http://schemas.microsoft.com/office/drawing/2014/main" id="{8C7D2083-1B7D-F702-A3C2-5BD9324971BC}"/>
                </a:ext>
              </a:extLst>
            </p:cNvPr>
            <p:cNvSpPr>
              <a:spLocks noChangeArrowheads="1"/>
            </p:cNvSpPr>
            <p:nvPr/>
          </p:nvSpPr>
          <p:spPr bwMode="auto">
            <a:xfrm>
              <a:off x="10403149" y="2405015"/>
              <a:ext cx="1005840" cy="1005840"/>
            </a:xfrm>
            <a:prstGeom prst="ellipse">
              <a:avLst/>
            </a:prstGeom>
            <a:solidFill>
              <a:srgbClr val="ED8C0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3" name="Graphic 4">
              <a:extLst>
                <a:ext uri="{FF2B5EF4-FFF2-40B4-BE49-F238E27FC236}">
                  <a16:creationId xmlns:a16="http://schemas.microsoft.com/office/drawing/2014/main" id="{7D4F51D9-BCC0-ACDE-B710-F8A0E85687F2}"/>
                </a:ext>
              </a:extLst>
            </p:cNvPr>
            <p:cNvSpPr/>
            <p:nvPr/>
          </p:nvSpPr>
          <p:spPr>
            <a:xfrm>
              <a:off x="10577598" y="2579773"/>
              <a:ext cx="656943" cy="656324"/>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09 w 362313"/>
                <a:gd name="connsiteY3" fmla="*/ 181305 h 361971"/>
                <a:gd name="connsiteX4" fmla="*/ 362309 w 362313"/>
                <a:gd name="connsiteY4" fmla="*/ 181305 h 361971"/>
                <a:gd name="connsiteX5" fmla="*/ 181474 w 362313"/>
                <a:gd name="connsiteY5" fmla="*/ 0 h 361971"/>
                <a:gd name="connsiteX6" fmla="*/ 181474 w 362313"/>
                <a:gd name="connsiteY6" fmla="*/ 348565 h 361971"/>
                <a:gd name="connsiteX7" fmla="*/ 12780 w 362313"/>
                <a:gd name="connsiteY7" fmla="*/ 180667 h 361971"/>
                <a:gd name="connsiteX8" fmla="*/ 180835 w 362313"/>
                <a:gd name="connsiteY8" fmla="*/ 12130 h 361971"/>
                <a:gd name="connsiteX9" fmla="*/ 349529 w 362313"/>
                <a:gd name="connsiteY9" fmla="*/ 180028 h 361971"/>
                <a:gd name="connsiteX10" fmla="*/ 349529 w 362313"/>
                <a:gd name="connsiteY10" fmla="*/ 180028 h 361971"/>
                <a:gd name="connsiteX11" fmla="*/ 181474 w 362313"/>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948" y="80438"/>
                    <a:pt x="281796" y="0"/>
                    <a:pt x="181474" y="0"/>
                  </a:cubicBezTo>
                  <a:close/>
                  <a:moveTo>
                    <a:pt x="181474" y="348565"/>
                  </a:moveTo>
                  <a:cubicBezTo>
                    <a:pt x="88181" y="348565"/>
                    <a:pt x="12780" y="273235"/>
                    <a:pt x="12780" y="180667"/>
                  </a:cubicBezTo>
                  <a:cubicBezTo>
                    <a:pt x="12780" y="87461"/>
                    <a:pt x="88181" y="12130"/>
                    <a:pt x="180835" y="12130"/>
                  </a:cubicBezTo>
                  <a:cubicBezTo>
                    <a:pt x="274128" y="12130"/>
                    <a:pt x="349529" y="87461"/>
                    <a:pt x="349529" y="180028"/>
                  </a:cubicBezTo>
                  <a:cubicBezTo>
                    <a:pt x="349529" y="180028"/>
                    <a:pt x="349529" y="180028"/>
                    <a:pt x="349529" y="180028"/>
                  </a:cubicBezTo>
                  <a:cubicBezTo>
                    <a:pt x="350168" y="273235"/>
                    <a:pt x="274767" y="348565"/>
                    <a:pt x="181474" y="348565"/>
                  </a:cubicBezTo>
                  <a:close/>
                </a:path>
              </a:pathLst>
            </a:custGeom>
            <a:solidFill>
              <a:schemeClr val="bg1"/>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 name="Google Shape;1669;p111">
            <a:extLst>
              <a:ext uri="{FF2B5EF4-FFF2-40B4-BE49-F238E27FC236}">
                <a16:creationId xmlns:a16="http://schemas.microsoft.com/office/drawing/2014/main" id="{119D3D6C-62D1-5236-A3D0-F3B63FC2E50F}"/>
              </a:ext>
            </a:extLst>
          </p:cNvPr>
          <p:cNvSpPr/>
          <p:nvPr/>
        </p:nvSpPr>
        <p:spPr>
          <a:xfrm>
            <a:off x="9517456" y="2053868"/>
            <a:ext cx="2279068" cy="601456"/>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rPr>
              <a:t>Regional approval of the plan</a:t>
            </a:r>
            <a:endParaRPr kumimoji="0" lang="en-US" sz="1800" b="1" i="0" u="none" strike="noStrike" kern="1200" cap="none" spc="0" normalizeH="0" baseline="0" noProof="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endParaRPr>
          </a:p>
        </p:txBody>
      </p:sp>
      <p:cxnSp>
        <p:nvCxnSpPr>
          <p:cNvPr id="10" name="Straight Arrow Connector 9">
            <a:extLst>
              <a:ext uri="{FF2B5EF4-FFF2-40B4-BE49-F238E27FC236}">
                <a16:creationId xmlns:a16="http://schemas.microsoft.com/office/drawing/2014/main" id="{BBEA17F2-9942-6EAC-139C-ABB2BFFD28D4}"/>
              </a:ext>
            </a:extLst>
          </p:cNvPr>
          <p:cNvCxnSpPr>
            <a:stCxn id="186" idx="6"/>
            <a:endCxn id="125" idx="2"/>
          </p:cNvCxnSpPr>
          <p:nvPr/>
        </p:nvCxnSpPr>
        <p:spPr>
          <a:xfrm flipV="1">
            <a:off x="4117769" y="3215844"/>
            <a:ext cx="1506792" cy="1659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43859394-CD64-4A23-1B06-45369DB91497}"/>
              </a:ext>
            </a:extLst>
          </p:cNvPr>
          <p:cNvCxnSpPr>
            <a:stCxn id="125" idx="6"/>
            <a:endCxn id="127" idx="2"/>
          </p:cNvCxnSpPr>
          <p:nvPr/>
        </p:nvCxnSpPr>
        <p:spPr>
          <a:xfrm>
            <a:off x="6630401" y="3215844"/>
            <a:ext cx="1262351"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46EC4FC4-0283-9099-849A-0A38E6C9DE58}"/>
              </a:ext>
            </a:extLst>
          </p:cNvPr>
          <p:cNvCxnSpPr>
            <a:cxnSpLocks/>
            <a:endCxn id="186" idx="4"/>
          </p:cNvCxnSpPr>
          <p:nvPr/>
        </p:nvCxnSpPr>
        <p:spPr>
          <a:xfrm rot="10800000">
            <a:off x="3614849" y="3735355"/>
            <a:ext cx="4793720" cy="970082"/>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43B7467-9007-34DB-9806-27A0C365DB67}"/>
              </a:ext>
            </a:extLst>
          </p:cNvPr>
          <p:cNvCxnSpPr>
            <a:cxnSpLocks/>
            <a:stCxn id="127" idx="4"/>
          </p:cNvCxnSpPr>
          <p:nvPr/>
        </p:nvCxnSpPr>
        <p:spPr>
          <a:xfrm>
            <a:off x="8395672" y="3718764"/>
            <a:ext cx="6913" cy="986673"/>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F28244A-73C9-FB08-AE15-C1E1D8259B2F}"/>
              </a:ext>
            </a:extLst>
          </p:cNvPr>
          <p:cNvSpPr txBox="1"/>
          <p:nvPr/>
        </p:nvSpPr>
        <p:spPr>
          <a:xfrm>
            <a:off x="3943321" y="4821790"/>
            <a:ext cx="393360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prstClr val="black"/>
                </a:solidFill>
                <a:effectLst/>
                <a:uLnTx/>
                <a:uFillTx/>
                <a:latin typeface="Calibri" panose="020F0502020204030204"/>
                <a:ea typeface="+mn-ea"/>
                <a:cs typeface="+mn-cs"/>
              </a:rPr>
              <a:t>Review team collaborates with provider for revisions to the plan as needed</a:t>
            </a:r>
          </a:p>
        </p:txBody>
      </p:sp>
      <p:sp>
        <p:nvSpPr>
          <p:cNvPr id="33" name="Oval 58">
            <a:extLst>
              <a:ext uri="{FF2B5EF4-FFF2-40B4-BE49-F238E27FC236}">
                <a16:creationId xmlns:a16="http://schemas.microsoft.com/office/drawing/2014/main" id="{A2E97F32-73BA-692D-5C3B-8677C9E072D1}"/>
              </a:ext>
            </a:extLst>
          </p:cNvPr>
          <p:cNvSpPr>
            <a:spLocks noChangeArrowheads="1"/>
          </p:cNvSpPr>
          <p:nvPr/>
        </p:nvSpPr>
        <p:spPr bwMode="auto">
          <a:xfrm>
            <a:off x="10180752" y="4139116"/>
            <a:ext cx="1005840" cy="1005840"/>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5" name="Graphic 4">
            <a:extLst>
              <a:ext uri="{FF2B5EF4-FFF2-40B4-BE49-F238E27FC236}">
                <a16:creationId xmlns:a16="http://schemas.microsoft.com/office/drawing/2014/main" id="{6B473E2C-8A63-7139-4233-6E7353049EA8}"/>
              </a:ext>
            </a:extLst>
          </p:cNvPr>
          <p:cNvSpPr/>
          <p:nvPr/>
        </p:nvSpPr>
        <p:spPr>
          <a:xfrm>
            <a:off x="10355201" y="4313874"/>
            <a:ext cx="656943" cy="656324"/>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09 w 362313"/>
              <a:gd name="connsiteY3" fmla="*/ 181305 h 361971"/>
              <a:gd name="connsiteX4" fmla="*/ 362309 w 362313"/>
              <a:gd name="connsiteY4" fmla="*/ 181305 h 361971"/>
              <a:gd name="connsiteX5" fmla="*/ 181474 w 362313"/>
              <a:gd name="connsiteY5" fmla="*/ 0 h 361971"/>
              <a:gd name="connsiteX6" fmla="*/ 181474 w 362313"/>
              <a:gd name="connsiteY6" fmla="*/ 348565 h 361971"/>
              <a:gd name="connsiteX7" fmla="*/ 12780 w 362313"/>
              <a:gd name="connsiteY7" fmla="*/ 180667 h 361971"/>
              <a:gd name="connsiteX8" fmla="*/ 180835 w 362313"/>
              <a:gd name="connsiteY8" fmla="*/ 12130 h 361971"/>
              <a:gd name="connsiteX9" fmla="*/ 349529 w 362313"/>
              <a:gd name="connsiteY9" fmla="*/ 180028 h 361971"/>
              <a:gd name="connsiteX10" fmla="*/ 349529 w 362313"/>
              <a:gd name="connsiteY10" fmla="*/ 180028 h 361971"/>
              <a:gd name="connsiteX11" fmla="*/ 181474 w 362313"/>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948" y="80438"/>
                  <a:pt x="281796" y="0"/>
                  <a:pt x="181474" y="0"/>
                </a:cubicBezTo>
                <a:close/>
                <a:moveTo>
                  <a:pt x="181474" y="348565"/>
                </a:moveTo>
                <a:cubicBezTo>
                  <a:pt x="88181" y="348565"/>
                  <a:pt x="12780" y="273235"/>
                  <a:pt x="12780" y="180667"/>
                </a:cubicBezTo>
                <a:cubicBezTo>
                  <a:pt x="12780" y="87461"/>
                  <a:pt x="88181" y="12130"/>
                  <a:pt x="180835" y="12130"/>
                </a:cubicBezTo>
                <a:cubicBezTo>
                  <a:pt x="274128" y="12130"/>
                  <a:pt x="349529" y="87461"/>
                  <a:pt x="349529" y="180028"/>
                </a:cubicBezTo>
                <a:cubicBezTo>
                  <a:pt x="349529" y="180028"/>
                  <a:pt x="349529" y="180028"/>
                  <a:pt x="349529" y="180028"/>
                </a:cubicBezTo>
                <a:cubicBezTo>
                  <a:pt x="350168" y="273235"/>
                  <a:pt x="274767" y="348565"/>
                  <a:pt x="181474" y="348565"/>
                </a:cubicBezTo>
                <a:close/>
              </a:path>
            </a:pathLst>
          </a:custGeom>
          <a:solidFill>
            <a:schemeClr val="bg1"/>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40" name="Straight Arrow Connector 39">
            <a:extLst>
              <a:ext uri="{FF2B5EF4-FFF2-40B4-BE49-F238E27FC236}">
                <a16:creationId xmlns:a16="http://schemas.microsoft.com/office/drawing/2014/main" id="{890B5777-A38A-2841-AA2C-68072369F10A}"/>
              </a:ext>
            </a:extLst>
          </p:cNvPr>
          <p:cNvCxnSpPr>
            <a:stCxn id="191" idx="4"/>
            <a:endCxn id="33" idx="0"/>
          </p:cNvCxnSpPr>
          <p:nvPr/>
        </p:nvCxnSpPr>
        <p:spPr>
          <a:xfrm>
            <a:off x="10683672" y="3718764"/>
            <a:ext cx="0" cy="42035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1" name="Google Shape;1669;p111">
            <a:extLst>
              <a:ext uri="{FF2B5EF4-FFF2-40B4-BE49-F238E27FC236}">
                <a16:creationId xmlns:a16="http://schemas.microsoft.com/office/drawing/2014/main" id="{6409AD13-EF52-27FB-A71F-720331E42449}"/>
              </a:ext>
            </a:extLst>
          </p:cNvPr>
          <p:cNvSpPr/>
          <p:nvPr/>
        </p:nvSpPr>
        <p:spPr>
          <a:xfrm>
            <a:off x="9566799" y="5344130"/>
            <a:ext cx="2279068" cy="601456"/>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rPr>
              <a:t>Provider begins implementation activities </a:t>
            </a:r>
            <a:endParaRPr kumimoji="0" lang="en-US" sz="1800" b="1" i="0" u="none" strike="noStrike" kern="1200" cap="none" spc="0" normalizeH="0" baseline="0" noProof="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endParaRPr>
          </a:p>
        </p:txBody>
      </p:sp>
      <p:pic>
        <p:nvPicPr>
          <p:cNvPr id="11" name="Graphic 10" descr="Folder Search with solid fill">
            <a:extLst>
              <a:ext uri="{FF2B5EF4-FFF2-40B4-BE49-F238E27FC236}">
                <a16:creationId xmlns:a16="http://schemas.microsoft.com/office/drawing/2014/main" id="{055BBCBE-E91D-16CD-24D3-FB48E19BE4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60328" y="2978178"/>
            <a:ext cx="457200" cy="457200"/>
          </a:xfrm>
          <a:prstGeom prst="rect">
            <a:avLst/>
          </a:prstGeom>
        </p:spPr>
      </p:pic>
      <p:pic>
        <p:nvPicPr>
          <p:cNvPr id="19" name="Graphic 18" descr="Checklist with solid fill">
            <a:extLst>
              <a:ext uri="{FF2B5EF4-FFF2-40B4-BE49-F238E27FC236}">
                <a16:creationId xmlns:a16="http://schemas.microsoft.com/office/drawing/2014/main" id="{65C58ABF-099A-CD99-305A-27C3ADD6370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55072" y="2985465"/>
            <a:ext cx="457200" cy="457200"/>
          </a:xfrm>
          <a:prstGeom prst="rect">
            <a:avLst/>
          </a:prstGeom>
        </p:spPr>
      </p:pic>
      <p:pic>
        <p:nvPicPr>
          <p:cNvPr id="28" name="Graphic 27" descr="Send with solid fill">
            <a:extLst>
              <a:ext uri="{FF2B5EF4-FFF2-40B4-BE49-F238E27FC236}">
                <a16:creationId xmlns:a16="http://schemas.microsoft.com/office/drawing/2014/main" id="{D8722713-1F22-8DA5-1B89-8F036DB07D8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64156" y="2987244"/>
            <a:ext cx="457200" cy="457200"/>
          </a:xfrm>
          <a:prstGeom prst="rect">
            <a:avLst/>
          </a:prstGeom>
        </p:spPr>
      </p:pic>
      <p:pic>
        <p:nvPicPr>
          <p:cNvPr id="30" name="Graphic 29" descr="Aspiration with solid fill">
            <a:extLst>
              <a:ext uri="{FF2B5EF4-FFF2-40B4-BE49-F238E27FC236}">
                <a16:creationId xmlns:a16="http://schemas.microsoft.com/office/drawing/2014/main" id="{7BA64D5A-943D-422F-0D9B-12FA6A7746B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455072" y="4413436"/>
            <a:ext cx="457200" cy="457200"/>
          </a:xfrm>
          <a:prstGeom prst="rect">
            <a:avLst/>
          </a:prstGeom>
        </p:spPr>
      </p:pic>
      <p:pic>
        <p:nvPicPr>
          <p:cNvPr id="42" name="Graphic 41" descr="Group brainstorm with solid fill">
            <a:extLst>
              <a:ext uri="{FF2B5EF4-FFF2-40B4-BE49-F238E27FC236}">
                <a16:creationId xmlns:a16="http://schemas.microsoft.com/office/drawing/2014/main" id="{4ED36FD8-ED04-DD90-5675-4FEEC4397AA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333152" y="2954002"/>
            <a:ext cx="548640" cy="548640"/>
          </a:xfrm>
          <a:prstGeom prst="rect">
            <a:avLst/>
          </a:prstGeom>
        </p:spPr>
      </p:pic>
      <p:sp>
        <p:nvSpPr>
          <p:cNvPr id="17" name="Oval 60">
            <a:extLst>
              <a:ext uri="{FF2B5EF4-FFF2-40B4-BE49-F238E27FC236}">
                <a16:creationId xmlns:a16="http://schemas.microsoft.com/office/drawing/2014/main" id="{6D9A22D8-3E4E-C51D-810E-F96B88ADF9C4}"/>
              </a:ext>
            </a:extLst>
          </p:cNvPr>
          <p:cNvSpPr>
            <a:spLocks noChangeArrowheads="1"/>
          </p:cNvSpPr>
          <p:nvPr/>
        </p:nvSpPr>
        <p:spPr bwMode="auto">
          <a:xfrm>
            <a:off x="1020051" y="2728066"/>
            <a:ext cx="1005840" cy="1005840"/>
          </a:xfrm>
          <a:prstGeom prst="ellipse">
            <a:avLst/>
          </a:prstGeom>
          <a:solidFill>
            <a:srgbClr val="ED8C0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Graphic 4">
            <a:extLst>
              <a:ext uri="{FF2B5EF4-FFF2-40B4-BE49-F238E27FC236}">
                <a16:creationId xmlns:a16="http://schemas.microsoft.com/office/drawing/2014/main" id="{3DD3AE0C-A953-5826-AF58-9CD0B6844E29}"/>
              </a:ext>
            </a:extLst>
          </p:cNvPr>
          <p:cNvSpPr/>
          <p:nvPr/>
        </p:nvSpPr>
        <p:spPr>
          <a:xfrm>
            <a:off x="1194500" y="2902824"/>
            <a:ext cx="656943" cy="656324"/>
          </a:xfrm>
          <a:custGeom>
            <a:avLst/>
            <a:gdLst>
              <a:gd name="connsiteX0" fmla="*/ 180835 w 361674"/>
              <a:gd name="connsiteY0" fmla="*/ 0 h 361333"/>
              <a:gd name="connsiteX1" fmla="*/ 0 w 361674"/>
              <a:gd name="connsiteY1" fmla="*/ 180667 h 361333"/>
              <a:gd name="connsiteX2" fmla="*/ 180835 w 361674"/>
              <a:gd name="connsiteY2" fmla="*/ 361333 h 361333"/>
              <a:gd name="connsiteX3" fmla="*/ 361670 w 361674"/>
              <a:gd name="connsiteY3" fmla="*/ 180667 h 361333"/>
              <a:gd name="connsiteX4" fmla="*/ 180835 w 361674"/>
              <a:gd name="connsiteY4" fmla="*/ 0 h 361333"/>
              <a:gd name="connsiteX5" fmla="*/ 180835 w 361674"/>
              <a:gd name="connsiteY5" fmla="*/ 349204 h 361333"/>
              <a:gd name="connsiteX6" fmla="*/ 12780 w 361674"/>
              <a:gd name="connsiteY6" fmla="*/ 181305 h 361333"/>
              <a:gd name="connsiteX7" fmla="*/ 180835 w 361674"/>
              <a:gd name="connsiteY7" fmla="*/ 13406 h 361333"/>
              <a:gd name="connsiteX8" fmla="*/ 348890 w 361674"/>
              <a:gd name="connsiteY8" fmla="*/ 181305 h 361333"/>
              <a:gd name="connsiteX9" fmla="*/ 180835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5" y="0"/>
                </a:moveTo>
                <a:cubicBezTo>
                  <a:pt x="80513" y="0"/>
                  <a:pt x="0" y="81077"/>
                  <a:pt x="0" y="180667"/>
                </a:cubicBezTo>
                <a:cubicBezTo>
                  <a:pt x="0" y="280895"/>
                  <a:pt x="81152" y="361333"/>
                  <a:pt x="180835" y="361333"/>
                </a:cubicBezTo>
                <a:cubicBezTo>
                  <a:pt x="281157" y="361333"/>
                  <a:pt x="361670" y="280257"/>
                  <a:pt x="361670" y="180667"/>
                </a:cubicBezTo>
                <a:cubicBezTo>
                  <a:pt x="362310" y="81077"/>
                  <a:pt x="281157" y="0"/>
                  <a:pt x="180835" y="0"/>
                </a:cubicBezTo>
                <a:close/>
                <a:moveTo>
                  <a:pt x="180835" y="349204"/>
                </a:moveTo>
                <a:cubicBezTo>
                  <a:pt x="88181" y="349204"/>
                  <a:pt x="12780" y="273873"/>
                  <a:pt x="12780" y="181305"/>
                </a:cubicBezTo>
                <a:cubicBezTo>
                  <a:pt x="12780" y="88737"/>
                  <a:pt x="88181" y="13406"/>
                  <a:pt x="180835" y="13406"/>
                </a:cubicBezTo>
                <a:cubicBezTo>
                  <a:pt x="273489" y="13406"/>
                  <a:pt x="348890" y="88737"/>
                  <a:pt x="348890" y="181305"/>
                </a:cubicBezTo>
                <a:cubicBezTo>
                  <a:pt x="348890" y="273873"/>
                  <a:pt x="273489" y="349204"/>
                  <a:pt x="180835" y="349204"/>
                </a:cubicBezTo>
                <a:close/>
              </a:path>
            </a:pathLst>
          </a:custGeom>
          <a:solidFill>
            <a:schemeClr val="bg1"/>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Google Shape;1665;p111">
            <a:extLst>
              <a:ext uri="{FF2B5EF4-FFF2-40B4-BE49-F238E27FC236}">
                <a16:creationId xmlns:a16="http://schemas.microsoft.com/office/drawing/2014/main" id="{D356C1DB-4B5C-7C62-7B5D-AAB6A704A412}"/>
              </a:ext>
            </a:extLst>
          </p:cNvPr>
          <p:cNvSpPr/>
          <p:nvPr/>
        </p:nvSpPr>
        <p:spPr>
          <a:xfrm>
            <a:off x="0" y="4080504"/>
            <a:ext cx="3045942" cy="837663"/>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rPr>
              <a:t>Provider begins transformation planning and engages Regional Staff for input and support</a:t>
            </a:r>
            <a:endParaRPr kumimoji="0" lang="en-US" sz="1800" b="1" i="0" u="none" strike="noStrike" kern="1200" cap="none" spc="0" normalizeH="0" baseline="0" noProof="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endParaRPr>
          </a:p>
        </p:txBody>
      </p:sp>
      <p:pic>
        <p:nvPicPr>
          <p:cNvPr id="26" name="Graphic 25" descr="Customer review with solid fill">
            <a:extLst>
              <a:ext uri="{FF2B5EF4-FFF2-40B4-BE49-F238E27FC236}">
                <a16:creationId xmlns:a16="http://schemas.microsoft.com/office/drawing/2014/main" id="{05F06BFF-40B4-EFCC-4439-9253F7A071B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57067" y="2978178"/>
            <a:ext cx="548640" cy="548640"/>
          </a:xfrm>
          <a:prstGeom prst="rect">
            <a:avLst/>
          </a:prstGeom>
        </p:spPr>
      </p:pic>
      <p:cxnSp>
        <p:nvCxnSpPr>
          <p:cNvPr id="32" name="Straight Arrow Connector 31">
            <a:extLst>
              <a:ext uri="{FF2B5EF4-FFF2-40B4-BE49-F238E27FC236}">
                <a16:creationId xmlns:a16="http://schemas.microsoft.com/office/drawing/2014/main" id="{A693D4F3-096E-2505-E3B3-86B71B71E39F}"/>
              </a:ext>
            </a:extLst>
          </p:cNvPr>
          <p:cNvCxnSpPr>
            <a:cxnSpLocks/>
            <a:stCxn id="17" idx="6"/>
            <a:endCxn id="186" idx="2"/>
          </p:cNvCxnSpPr>
          <p:nvPr/>
        </p:nvCxnSpPr>
        <p:spPr>
          <a:xfrm>
            <a:off x="2025891" y="3230986"/>
            <a:ext cx="1086038" cy="144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30345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aphic 4">
            <a:extLst>
              <a:ext uri="{FF2B5EF4-FFF2-40B4-BE49-F238E27FC236}">
                <a16:creationId xmlns:a16="http://schemas.microsoft.com/office/drawing/2014/main" id="{CFE4A46F-70A6-283F-FFF0-B71E07B5B8A6}"/>
              </a:ext>
            </a:extLst>
          </p:cNvPr>
          <p:cNvGrpSpPr/>
          <p:nvPr/>
        </p:nvGrpSpPr>
        <p:grpSpPr>
          <a:xfrm>
            <a:off x="5516563" y="1531037"/>
            <a:ext cx="954501" cy="955295"/>
            <a:chOff x="1952125" y="4308712"/>
            <a:chExt cx="362309" cy="361971"/>
          </a:xfrm>
          <a:solidFill>
            <a:schemeClr val="accent1"/>
          </a:solidFill>
        </p:grpSpPr>
        <p:sp>
          <p:nvSpPr>
            <p:cNvPr id="34" name="Graphic 4">
              <a:extLst>
                <a:ext uri="{FF2B5EF4-FFF2-40B4-BE49-F238E27FC236}">
                  <a16:creationId xmlns:a16="http://schemas.microsoft.com/office/drawing/2014/main" id="{D7AE9E09-9BCB-7ADA-7450-DE92EAF02B16}"/>
                </a:ext>
              </a:extLst>
            </p:cNvPr>
            <p:cNvSpPr/>
            <p:nvPr/>
          </p:nvSpPr>
          <p:spPr>
            <a:xfrm rot="18900486">
              <a:off x="2118568" y="4439233"/>
              <a:ext cx="91375" cy="51071"/>
            </a:xfrm>
            <a:custGeom>
              <a:avLst/>
              <a:gdLst>
                <a:gd name="connsiteX0" fmla="*/ 0 w 91375"/>
                <a:gd name="connsiteY0" fmla="*/ 0 h 51071"/>
                <a:gd name="connsiteX1" fmla="*/ 91375 w 91375"/>
                <a:gd name="connsiteY1" fmla="*/ 0 h 51071"/>
                <a:gd name="connsiteX2" fmla="*/ 91375 w 91375"/>
                <a:gd name="connsiteY2" fmla="*/ 51071 h 51071"/>
                <a:gd name="connsiteX3" fmla="*/ 0 w 91375"/>
                <a:gd name="connsiteY3" fmla="*/ 51071 h 51071"/>
              </a:gdLst>
              <a:ahLst/>
              <a:cxnLst>
                <a:cxn ang="0">
                  <a:pos x="connsiteX0" y="connsiteY0"/>
                </a:cxn>
                <a:cxn ang="0">
                  <a:pos x="connsiteX1" y="connsiteY1"/>
                </a:cxn>
                <a:cxn ang="0">
                  <a:pos x="connsiteX2" y="connsiteY2"/>
                </a:cxn>
                <a:cxn ang="0">
                  <a:pos x="connsiteX3" y="connsiteY3"/>
                </a:cxn>
              </a:cxnLst>
              <a:rect l="l" t="t" r="r" b="b"/>
              <a:pathLst>
                <a:path w="91375" h="51071">
                  <a:moveTo>
                    <a:pt x="0" y="0"/>
                  </a:moveTo>
                  <a:lnTo>
                    <a:pt x="91375" y="0"/>
                  </a:lnTo>
                  <a:lnTo>
                    <a:pt x="91375" y="51071"/>
                  </a:lnTo>
                  <a:lnTo>
                    <a:pt x="0" y="51071"/>
                  </a:lnTo>
                  <a:close/>
                </a:path>
              </a:pathLst>
            </a:custGeom>
            <a:solidFill>
              <a:schemeClr val="accent2">
                <a:lumMod val="75000"/>
              </a:schemeClr>
            </a:solidFill>
            <a:ln w="6390" cap="flat">
              <a:noFill/>
              <a:prstDash val="solid"/>
              <a:miter/>
            </a:ln>
          </p:spPr>
          <p:txBody>
            <a:bodyPr rtlCol="0" anchor="ctr"/>
            <a:lstStyle/>
            <a:p>
              <a:endParaRPr lang="en-US"/>
            </a:p>
          </p:txBody>
        </p:sp>
        <p:sp>
          <p:nvSpPr>
            <p:cNvPr id="35" name="Graphic 4">
              <a:extLst>
                <a:ext uri="{FF2B5EF4-FFF2-40B4-BE49-F238E27FC236}">
                  <a16:creationId xmlns:a16="http://schemas.microsoft.com/office/drawing/2014/main" id="{5F9D50B8-2E77-E838-F8E6-ADA8BA7C2E74}"/>
                </a:ext>
              </a:extLst>
            </p:cNvPr>
            <p:cNvSpPr/>
            <p:nvPr/>
          </p:nvSpPr>
          <p:spPr>
            <a:xfrm>
              <a:off x="2053086" y="4488102"/>
              <a:ext cx="88181" cy="79161"/>
            </a:xfrm>
            <a:custGeom>
              <a:avLst/>
              <a:gdLst>
                <a:gd name="connsiteX0" fmla="*/ 51759 w 88181"/>
                <a:gd name="connsiteY0" fmla="*/ 0 h 79161"/>
                <a:gd name="connsiteX1" fmla="*/ 0 w 88181"/>
                <a:gd name="connsiteY1" fmla="*/ 51710 h 79161"/>
                <a:gd name="connsiteX2" fmla="*/ 26199 w 88181"/>
                <a:gd name="connsiteY2" fmla="*/ 79161 h 79161"/>
                <a:gd name="connsiteX3" fmla="*/ 45369 w 88181"/>
                <a:gd name="connsiteY3" fmla="*/ 79161 h 79161"/>
                <a:gd name="connsiteX4" fmla="*/ 88181 w 88181"/>
                <a:gd name="connsiteY4" fmla="*/ 36388 h 79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81" h="79161">
                  <a:moveTo>
                    <a:pt x="51759" y="0"/>
                  </a:moveTo>
                  <a:lnTo>
                    <a:pt x="0" y="51710"/>
                  </a:lnTo>
                  <a:lnTo>
                    <a:pt x="26199" y="79161"/>
                  </a:lnTo>
                  <a:lnTo>
                    <a:pt x="45369" y="79161"/>
                  </a:lnTo>
                  <a:lnTo>
                    <a:pt x="88181" y="36388"/>
                  </a:lnTo>
                  <a:close/>
                </a:path>
              </a:pathLst>
            </a:custGeom>
            <a:solidFill>
              <a:schemeClr val="accent2">
                <a:lumMod val="75000"/>
              </a:schemeClr>
            </a:solidFill>
            <a:ln w="6390" cap="flat">
              <a:noFill/>
              <a:prstDash val="solid"/>
              <a:miter/>
            </a:ln>
          </p:spPr>
          <p:txBody>
            <a:bodyPr rtlCol="0" anchor="ctr"/>
            <a:lstStyle/>
            <a:p>
              <a:endParaRPr lang="en-US"/>
            </a:p>
          </p:txBody>
        </p:sp>
        <p:sp>
          <p:nvSpPr>
            <p:cNvPr id="36" name="Graphic 4">
              <a:extLst>
                <a:ext uri="{FF2B5EF4-FFF2-40B4-BE49-F238E27FC236}">
                  <a16:creationId xmlns:a16="http://schemas.microsoft.com/office/drawing/2014/main" id="{9D652407-F080-312C-8F39-3EF12C1DC5C9}"/>
                </a:ext>
              </a:extLst>
            </p:cNvPr>
            <p:cNvSpPr/>
            <p:nvPr/>
          </p:nvSpPr>
          <p:spPr>
            <a:xfrm>
              <a:off x="1952125" y="4308712"/>
              <a:ext cx="362309" cy="361971"/>
            </a:xfrm>
            <a:custGeom>
              <a:avLst/>
              <a:gdLst>
                <a:gd name="connsiteX0" fmla="*/ 276045 w 362309"/>
                <a:gd name="connsiteY0" fmla="*/ 146832 h 361971"/>
                <a:gd name="connsiteX1" fmla="*/ 164221 w 362309"/>
                <a:gd name="connsiteY1" fmla="*/ 258551 h 361971"/>
                <a:gd name="connsiteX2" fmla="*/ 254958 w 362309"/>
                <a:gd name="connsiteY2" fmla="*/ 258551 h 361971"/>
                <a:gd name="connsiteX3" fmla="*/ 261348 w 362309"/>
                <a:gd name="connsiteY3" fmla="*/ 264935 h 361971"/>
                <a:gd name="connsiteX4" fmla="*/ 254958 w 362309"/>
                <a:gd name="connsiteY4" fmla="*/ 271319 h 361971"/>
                <a:gd name="connsiteX5" fmla="*/ 124604 w 362309"/>
                <a:gd name="connsiteY5" fmla="*/ 271319 h 361971"/>
                <a:gd name="connsiteX6" fmla="*/ 122048 w 362309"/>
                <a:gd name="connsiteY6" fmla="*/ 270681 h 361971"/>
                <a:gd name="connsiteX7" fmla="*/ 120131 w 362309"/>
                <a:gd name="connsiteY7" fmla="*/ 269404 h 361971"/>
                <a:gd name="connsiteX8" fmla="*/ 120131 w 362309"/>
                <a:gd name="connsiteY8" fmla="*/ 269404 h 361971"/>
                <a:gd name="connsiteX9" fmla="*/ 87542 w 362309"/>
                <a:gd name="connsiteY9" fmla="*/ 236207 h 361971"/>
                <a:gd name="connsiteX10" fmla="*/ 87542 w 362309"/>
                <a:gd name="connsiteY10" fmla="*/ 227270 h 361971"/>
                <a:gd name="connsiteX11" fmla="*/ 221731 w 362309"/>
                <a:gd name="connsiteY11" fmla="*/ 93206 h 361971"/>
                <a:gd name="connsiteX12" fmla="*/ 230677 w 362309"/>
                <a:gd name="connsiteY12" fmla="*/ 93206 h 361971"/>
                <a:gd name="connsiteX13" fmla="*/ 230677 w 362309"/>
                <a:gd name="connsiteY13" fmla="*/ 93206 h 361971"/>
                <a:gd name="connsiteX14" fmla="*/ 276045 w 362309"/>
                <a:gd name="connsiteY14" fmla="*/ 138533 h 361971"/>
                <a:gd name="connsiteX15" fmla="*/ 277962 w 362309"/>
                <a:gd name="connsiteY15" fmla="*/ 143001 h 361971"/>
                <a:gd name="connsiteX16" fmla="*/ 276045 w 362309"/>
                <a:gd name="connsiteY16" fmla="*/ 146832 h 361971"/>
                <a:gd name="connsiteX17" fmla="*/ 181474 w 362309"/>
                <a:gd name="connsiteY17" fmla="*/ 0 h 361971"/>
                <a:gd name="connsiteX18" fmla="*/ 0 w 362309"/>
                <a:gd name="connsiteY18" fmla="*/ 180667 h 361971"/>
                <a:gd name="connsiteX19" fmla="*/ 180835 w 362309"/>
                <a:gd name="connsiteY19" fmla="*/ 361972 h 361971"/>
                <a:gd name="connsiteX20" fmla="*/ 362310 w 362309"/>
                <a:gd name="connsiteY20" fmla="*/ 181305 h 361971"/>
                <a:gd name="connsiteX21" fmla="*/ 362310 w 362309"/>
                <a:gd name="connsiteY21" fmla="*/ 181305 h 361971"/>
                <a:gd name="connsiteX22" fmla="*/ 181474 w 362309"/>
                <a:gd name="connsiteY22" fmla="*/ 0 h 361971"/>
                <a:gd name="connsiteX23" fmla="*/ 181474 w 362309"/>
                <a:gd name="connsiteY23"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2309" h="361971">
                  <a:moveTo>
                    <a:pt x="276045" y="146832"/>
                  </a:moveTo>
                  <a:lnTo>
                    <a:pt x="164221" y="258551"/>
                  </a:lnTo>
                  <a:lnTo>
                    <a:pt x="254958" y="258551"/>
                  </a:lnTo>
                  <a:cubicBezTo>
                    <a:pt x="258792" y="258551"/>
                    <a:pt x="261348" y="261105"/>
                    <a:pt x="261348" y="264935"/>
                  </a:cubicBezTo>
                  <a:cubicBezTo>
                    <a:pt x="261348" y="268766"/>
                    <a:pt x="258792" y="271319"/>
                    <a:pt x="254958" y="271319"/>
                  </a:cubicBezTo>
                  <a:lnTo>
                    <a:pt x="124604" y="271319"/>
                  </a:lnTo>
                  <a:cubicBezTo>
                    <a:pt x="123965" y="271319"/>
                    <a:pt x="122687" y="271319"/>
                    <a:pt x="122048" y="270681"/>
                  </a:cubicBezTo>
                  <a:cubicBezTo>
                    <a:pt x="121409" y="270042"/>
                    <a:pt x="120770" y="270042"/>
                    <a:pt x="120131" y="269404"/>
                  </a:cubicBezTo>
                  <a:lnTo>
                    <a:pt x="120131" y="269404"/>
                  </a:lnTo>
                  <a:lnTo>
                    <a:pt x="87542" y="236207"/>
                  </a:lnTo>
                  <a:cubicBezTo>
                    <a:pt x="84986" y="233654"/>
                    <a:pt x="84986" y="229823"/>
                    <a:pt x="87542" y="227270"/>
                  </a:cubicBezTo>
                  <a:lnTo>
                    <a:pt x="221731" y="93206"/>
                  </a:lnTo>
                  <a:cubicBezTo>
                    <a:pt x="224287" y="90653"/>
                    <a:pt x="228121" y="90653"/>
                    <a:pt x="230677" y="93206"/>
                  </a:cubicBezTo>
                  <a:cubicBezTo>
                    <a:pt x="230677" y="93206"/>
                    <a:pt x="230677" y="93206"/>
                    <a:pt x="230677" y="93206"/>
                  </a:cubicBezTo>
                  <a:lnTo>
                    <a:pt x="276045" y="138533"/>
                  </a:lnTo>
                  <a:cubicBezTo>
                    <a:pt x="277323" y="139809"/>
                    <a:pt x="277962" y="141086"/>
                    <a:pt x="277962" y="143001"/>
                  </a:cubicBezTo>
                  <a:cubicBezTo>
                    <a:pt x="277962" y="144278"/>
                    <a:pt x="276684" y="145555"/>
                    <a:pt x="276045" y="146832"/>
                  </a:cubicBezTo>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310" y="81077"/>
                    <a:pt x="281796" y="0"/>
                    <a:pt x="181474" y="0"/>
                  </a:cubicBezTo>
                  <a:lnTo>
                    <a:pt x="181474" y="0"/>
                  </a:lnTo>
                </a:path>
              </a:pathLst>
            </a:custGeom>
            <a:solidFill>
              <a:schemeClr val="accent2">
                <a:lumMod val="75000"/>
              </a:schemeClr>
            </a:solidFill>
            <a:ln w="6390" cap="flat">
              <a:noFill/>
              <a:prstDash val="solid"/>
              <a:miter/>
            </a:ln>
          </p:spPr>
          <p:txBody>
            <a:bodyPr rtlCol="0" anchor="ctr"/>
            <a:lstStyle/>
            <a:p>
              <a:endParaRPr lang="en-US"/>
            </a:p>
          </p:txBody>
        </p:sp>
      </p:grpSp>
      <p:sp>
        <p:nvSpPr>
          <p:cNvPr id="32" name="Graphic 4">
            <a:extLst>
              <a:ext uri="{FF2B5EF4-FFF2-40B4-BE49-F238E27FC236}">
                <a16:creationId xmlns:a16="http://schemas.microsoft.com/office/drawing/2014/main" id="{22B10295-E6F3-1971-E437-FFD3CC12FEDA}"/>
              </a:ext>
            </a:extLst>
          </p:cNvPr>
          <p:cNvSpPr/>
          <p:nvPr/>
        </p:nvSpPr>
        <p:spPr>
          <a:xfrm>
            <a:off x="920670" y="1513299"/>
            <a:ext cx="954503" cy="955298"/>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229399 w 362309"/>
              <a:gd name="connsiteY6" fmla="*/ 287279 h 361971"/>
              <a:gd name="connsiteX7" fmla="*/ 223009 w 362309"/>
              <a:gd name="connsiteY7" fmla="*/ 293663 h 361971"/>
              <a:gd name="connsiteX8" fmla="*/ 109268 w 362309"/>
              <a:gd name="connsiteY8" fmla="*/ 293663 h 361971"/>
              <a:gd name="connsiteX9" fmla="*/ 102878 w 362309"/>
              <a:gd name="connsiteY9" fmla="*/ 287279 h 361971"/>
              <a:gd name="connsiteX10" fmla="*/ 102878 w 362309"/>
              <a:gd name="connsiteY10" fmla="*/ 74693 h 361971"/>
              <a:gd name="connsiteX11" fmla="*/ 109268 w 362309"/>
              <a:gd name="connsiteY11" fmla="*/ 68309 h 361971"/>
              <a:gd name="connsiteX12" fmla="*/ 223648 w 362309"/>
              <a:gd name="connsiteY12" fmla="*/ 68309 h 361971"/>
              <a:gd name="connsiteX13" fmla="*/ 230038 w 362309"/>
              <a:gd name="connsiteY13" fmla="*/ 74693 h 361971"/>
              <a:gd name="connsiteX14" fmla="*/ 230038 w 362309"/>
              <a:gd name="connsiteY14" fmla="*/ 143001 h 361971"/>
              <a:gd name="connsiteX15" fmla="*/ 223648 w 362309"/>
              <a:gd name="connsiteY15" fmla="*/ 149385 h 361971"/>
              <a:gd name="connsiteX16" fmla="*/ 217258 w 362309"/>
              <a:gd name="connsiteY16" fmla="*/ 143001 h 361971"/>
              <a:gd name="connsiteX17" fmla="*/ 217258 w 362309"/>
              <a:gd name="connsiteY17" fmla="*/ 81077 h 361971"/>
              <a:gd name="connsiteX18" fmla="*/ 115658 w 362309"/>
              <a:gd name="connsiteY18" fmla="*/ 81077 h 361971"/>
              <a:gd name="connsiteX19" fmla="*/ 115658 w 362309"/>
              <a:gd name="connsiteY19" fmla="*/ 280895 h 361971"/>
              <a:gd name="connsiteX20" fmla="*/ 217258 w 362309"/>
              <a:gd name="connsiteY20" fmla="*/ 280895 h 361971"/>
              <a:gd name="connsiteX21" fmla="*/ 217258 w 362309"/>
              <a:gd name="connsiteY21" fmla="*/ 218971 h 361971"/>
              <a:gd name="connsiteX22" fmla="*/ 223648 w 362309"/>
              <a:gd name="connsiteY22" fmla="*/ 212587 h 361971"/>
              <a:gd name="connsiteX23" fmla="*/ 230038 w 362309"/>
              <a:gd name="connsiteY23" fmla="*/ 218971 h 361971"/>
              <a:gd name="connsiteX24" fmla="*/ 229399 w 362309"/>
              <a:gd name="connsiteY24" fmla="*/ 287279 h 361971"/>
              <a:gd name="connsiteX25" fmla="*/ 295854 w 362309"/>
              <a:gd name="connsiteY25" fmla="*/ 185774 h 361971"/>
              <a:gd name="connsiteX26" fmla="*/ 265182 w 362309"/>
              <a:gd name="connsiteY26" fmla="*/ 216417 h 361971"/>
              <a:gd name="connsiteX27" fmla="*/ 260709 w 362309"/>
              <a:gd name="connsiteY27" fmla="*/ 218332 h 361971"/>
              <a:gd name="connsiteX28" fmla="*/ 254320 w 362309"/>
              <a:gd name="connsiteY28" fmla="*/ 211948 h 361971"/>
              <a:gd name="connsiteX29" fmla="*/ 256237 w 362309"/>
              <a:gd name="connsiteY29" fmla="*/ 207479 h 361971"/>
              <a:gd name="connsiteX30" fmla="*/ 276045 w 362309"/>
              <a:gd name="connsiteY30" fmla="*/ 188327 h 361971"/>
              <a:gd name="connsiteX31" fmla="*/ 162304 w 362309"/>
              <a:gd name="connsiteY31" fmla="*/ 188327 h 361971"/>
              <a:gd name="connsiteX32" fmla="*/ 155915 w 362309"/>
              <a:gd name="connsiteY32" fmla="*/ 181944 h 361971"/>
              <a:gd name="connsiteX33" fmla="*/ 162304 w 362309"/>
              <a:gd name="connsiteY33" fmla="*/ 175560 h 361971"/>
              <a:gd name="connsiteX34" fmla="*/ 276045 w 362309"/>
              <a:gd name="connsiteY34" fmla="*/ 175560 h 361971"/>
              <a:gd name="connsiteX35" fmla="*/ 256237 w 362309"/>
              <a:gd name="connsiteY35" fmla="*/ 156408 h 361971"/>
              <a:gd name="connsiteX36" fmla="*/ 256237 w 362309"/>
              <a:gd name="connsiteY36" fmla="*/ 147470 h 361971"/>
              <a:gd name="connsiteX37" fmla="*/ 256237 w 362309"/>
              <a:gd name="connsiteY37" fmla="*/ 147470 h 361971"/>
              <a:gd name="connsiteX38" fmla="*/ 265182 w 362309"/>
              <a:gd name="connsiteY38" fmla="*/ 147470 h 361971"/>
              <a:gd name="connsiteX39" fmla="*/ 295854 w 362309"/>
              <a:gd name="connsiteY39" fmla="*/ 178113 h 361971"/>
              <a:gd name="connsiteX40" fmla="*/ 297132 w 362309"/>
              <a:gd name="connsiteY40" fmla="*/ 180028 h 361971"/>
              <a:gd name="connsiteX41" fmla="*/ 297132 w 362309"/>
              <a:gd name="connsiteY41" fmla="*/ 185135 h 361971"/>
              <a:gd name="connsiteX42" fmla="*/ 295854 w 362309"/>
              <a:gd name="connsiteY42" fmla="*/ 18577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lnTo>
                  <a:pt x="362309" y="180667"/>
                </a:lnTo>
                <a:cubicBezTo>
                  <a:pt x="361670" y="81077"/>
                  <a:pt x="281157" y="0"/>
                  <a:pt x="180835" y="0"/>
                </a:cubicBezTo>
                <a:close/>
                <a:moveTo>
                  <a:pt x="229399" y="287279"/>
                </a:moveTo>
                <a:cubicBezTo>
                  <a:pt x="229399" y="291109"/>
                  <a:pt x="226843" y="293663"/>
                  <a:pt x="223009" y="293663"/>
                </a:cubicBezTo>
                <a:lnTo>
                  <a:pt x="109268" y="293663"/>
                </a:lnTo>
                <a:cubicBezTo>
                  <a:pt x="105434" y="293663"/>
                  <a:pt x="102878" y="291109"/>
                  <a:pt x="102878" y="287279"/>
                </a:cubicBezTo>
                <a:lnTo>
                  <a:pt x="102878" y="74693"/>
                </a:lnTo>
                <a:cubicBezTo>
                  <a:pt x="102878" y="70862"/>
                  <a:pt x="105434" y="68309"/>
                  <a:pt x="109268" y="68309"/>
                </a:cubicBezTo>
                <a:lnTo>
                  <a:pt x="223648" y="68309"/>
                </a:lnTo>
                <a:cubicBezTo>
                  <a:pt x="227482" y="68309"/>
                  <a:pt x="230038" y="70862"/>
                  <a:pt x="230038" y="74693"/>
                </a:cubicBezTo>
                <a:lnTo>
                  <a:pt x="230038" y="143001"/>
                </a:lnTo>
                <a:cubicBezTo>
                  <a:pt x="230038" y="146832"/>
                  <a:pt x="227482" y="149385"/>
                  <a:pt x="223648" y="149385"/>
                </a:cubicBezTo>
                <a:cubicBezTo>
                  <a:pt x="219814" y="149385"/>
                  <a:pt x="217258" y="146832"/>
                  <a:pt x="217258" y="143001"/>
                </a:cubicBezTo>
                <a:lnTo>
                  <a:pt x="217258" y="81077"/>
                </a:lnTo>
                <a:lnTo>
                  <a:pt x="115658" y="81077"/>
                </a:lnTo>
                <a:lnTo>
                  <a:pt x="115658" y="280895"/>
                </a:lnTo>
                <a:lnTo>
                  <a:pt x="217258" y="280895"/>
                </a:lnTo>
                <a:lnTo>
                  <a:pt x="217258" y="218971"/>
                </a:lnTo>
                <a:cubicBezTo>
                  <a:pt x="217258" y="215140"/>
                  <a:pt x="219814" y="212587"/>
                  <a:pt x="223648" y="212587"/>
                </a:cubicBezTo>
                <a:cubicBezTo>
                  <a:pt x="227482" y="212587"/>
                  <a:pt x="230038" y="215140"/>
                  <a:pt x="230038" y="218971"/>
                </a:cubicBezTo>
                <a:lnTo>
                  <a:pt x="229399" y="287279"/>
                </a:lnTo>
                <a:close/>
                <a:moveTo>
                  <a:pt x="295854" y="185774"/>
                </a:moveTo>
                <a:lnTo>
                  <a:pt x="265182" y="216417"/>
                </a:lnTo>
                <a:cubicBezTo>
                  <a:pt x="263904" y="217694"/>
                  <a:pt x="262626" y="218332"/>
                  <a:pt x="260709" y="218332"/>
                </a:cubicBezTo>
                <a:cubicBezTo>
                  <a:pt x="256875" y="218332"/>
                  <a:pt x="254320" y="215779"/>
                  <a:pt x="254320" y="211948"/>
                </a:cubicBezTo>
                <a:cubicBezTo>
                  <a:pt x="254320" y="210033"/>
                  <a:pt x="254959" y="208756"/>
                  <a:pt x="256237" y="207479"/>
                </a:cubicBezTo>
                <a:lnTo>
                  <a:pt x="276045" y="188327"/>
                </a:lnTo>
                <a:lnTo>
                  <a:pt x="162304" y="188327"/>
                </a:lnTo>
                <a:cubicBezTo>
                  <a:pt x="158470" y="188327"/>
                  <a:pt x="155915" y="185774"/>
                  <a:pt x="155915" y="181944"/>
                </a:cubicBezTo>
                <a:cubicBezTo>
                  <a:pt x="155915" y="178113"/>
                  <a:pt x="158470" y="175560"/>
                  <a:pt x="162304" y="175560"/>
                </a:cubicBezTo>
                <a:lnTo>
                  <a:pt x="276045" y="175560"/>
                </a:lnTo>
                <a:lnTo>
                  <a:pt x="256237" y="156408"/>
                </a:lnTo>
                <a:cubicBezTo>
                  <a:pt x="253680" y="153854"/>
                  <a:pt x="253680" y="150024"/>
                  <a:pt x="256237" y="147470"/>
                </a:cubicBezTo>
                <a:cubicBezTo>
                  <a:pt x="256237" y="147470"/>
                  <a:pt x="256237" y="147470"/>
                  <a:pt x="256237" y="147470"/>
                </a:cubicBezTo>
                <a:cubicBezTo>
                  <a:pt x="258792" y="144916"/>
                  <a:pt x="262626" y="144916"/>
                  <a:pt x="265182" y="147470"/>
                </a:cubicBezTo>
                <a:lnTo>
                  <a:pt x="295854" y="178113"/>
                </a:lnTo>
                <a:cubicBezTo>
                  <a:pt x="296493" y="178752"/>
                  <a:pt x="297132" y="179390"/>
                  <a:pt x="297132" y="180028"/>
                </a:cubicBezTo>
                <a:cubicBezTo>
                  <a:pt x="297771" y="181305"/>
                  <a:pt x="297771" y="183220"/>
                  <a:pt x="297132" y="185135"/>
                </a:cubicBezTo>
                <a:cubicBezTo>
                  <a:pt x="297132" y="184497"/>
                  <a:pt x="296493" y="185135"/>
                  <a:pt x="295854" y="185774"/>
                </a:cubicBezTo>
                <a:close/>
              </a:path>
            </a:pathLst>
          </a:custGeom>
          <a:solidFill>
            <a:schemeClr val="accent1"/>
          </a:solidFill>
          <a:ln w="6390" cap="flat">
            <a:noFill/>
            <a:prstDash val="solid"/>
            <a:miter/>
          </a:ln>
        </p:spPr>
        <p:txBody>
          <a:bodyPr rtlCol="0" anchor="ctr"/>
          <a:lstStyle/>
          <a:p>
            <a:endParaRPr lang="en-US"/>
          </a:p>
        </p:txBody>
      </p:sp>
      <p:cxnSp>
        <p:nvCxnSpPr>
          <p:cNvPr id="4" name="Straight Connector 3">
            <a:extLst>
              <a:ext uri="{FF2B5EF4-FFF2-40B4-BE49-F238E27FC236}">
                <a16:creationId xmlns:a16="http://schemas.microsoft.com/office/drawing/2014/main" id="{611A2086-2B4D-5CFF-690F-84474DB0B9A2}"/>
              </a:ext>
            </a:extLst>
          </p:cNvPr>
          <p:cNvCxnSpPr/>
          <p:nvPr/>
        </p:nvCxnSpPr>
        <p:spPr>
          <a:xfrm>
            <a:off x="508875" y="2870765"/>
            <a:ext cx="1964222" cy="0"/>
          </a:xfrm>
          <a:prstGeom prst="line">
            <a:avLst/>
          </a:prstGeom>
          <a:ln w="57150">
            <a:solidFill>
              <a:srgbClr val="22326E"/>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62EA042-0D8C-716D-487C-A68BFB78A4AB}"/>
              </a:ext>
            </a:extLst>
          </p:cNvPr>
          <p:cNvCxnSpPr/>
          <p:nvPr/>
        </p:nvCxnSpPr>
        <p:spPr>
          <a:xfrm>
            <a:off x="2805352" y="2870765"/>
            <a:ext cx="1964222" cy="0"/>
          </a:xfrm>
          <a:prstGeom prst="line">
            <a:avLst/>
          </a:prstGeom>
          <a:ln w="57150">
            <a:solidFill>
              <a:srgbClr val="5770CB"/>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6C6DEC4-DFC1-9A3C-6D5B-754287211892}"/>
              </a:ext>
            </a:extLst>
          </p:cNvPr>
          <p:cNvCxnSpPr/>
          <p:nvPr/>
        </p:nvCxnSpPr>
        <p:spPr>
          <a:xfrm>
            <a:off x="5072514" y="2870765"/>
            <a:ext cx="1964222" cy="0"/>
          </a:xfrm>
          <a:prstGeom prst="line">
            <a:avLst/>
          </a:prstGeom>
          <a:ln w="57150">
            <a:solidFill>
              <a:srgbClr val="0076B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F37F3C4-BAA4-AB79-58B1-F739565C6444}"/>
              </a:ext>
            </a:extLst>
          </p:cNvPr>
          <p:cNvCxnSpPr/>
          <p:nvPr/>
        </p:nvCxnSpPr>
        <p:spPr>
          <a:xfrm>
            <a:off x="7368991" y="2870765"/>
            <a:ext cx="1964222" cy="0"/>
          </a:xfrm>
          <a:prstGeom prst="line">
            <a:avLst/>
          </a:prstGeom>
          <a:ln w="57150">
            <a:solidFill>
              <a:srgbClr val="004E75"/>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8FD86CB-D1E4-DBBC-8DB9-12BACC1126EF}"/>
              </a:ext>
            </a:extLst>
          </p:cNvPr>
          <p:cNvCxnSpPr/>
          <p:nvPr/>
        </p:nvCxnSpPr>
        <p:spPr>
          <a:xfrm>
            <a:off x="9655696" y="2870765"/>
            <a:ext cx="1964222" cy="0"/>
          </a:xfrm>
          <a:prstGeom prst="line">
            <a:avLst/>
          </a:prstGeom>
          <a:ln w="57150">
            <a:solidFill>
              <a:srgbClr val="C7CFEE"/>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0CCC9A3D-5DDA-C76B-70E3-79FA3234DC3F}"/>
              </a:ext>
            </a:extLst>
          </p:cNvPr>
          <p:cNvSpPr/>
          <p:nvPr/>
        </p:nvSpPr>
        <p:spPr>
          <a:xfrm>
            <a:off x="501652" y="3006168"/>
            <a:ext cx="2056510" cy="1569660"/>
          </a:xfrm>
          <a:prstGeom prst="rect">
            <a:avLst/>
          </a:prstGeom>
        </p:spPr>
        <p:txBody>
          <a:bodyPr wrap="square">
            <a:spAutoFit/>
          </a:bodyPr>
          <a:lstStyle/>
          <a:p>
            <a:r>
              <a:rPr lang="en-US" sz="1600" b="0" i="0" u="none" strike="noStrike" baseline="0">
                <a:solidFill>
                  <a:srgbClr val="000000"/>
                </a:solidFill>
              </a:rPr>
              <a:t>Providers submit plans to the Regional Resource Administrator, and </a:t>
            </a:r>
            <a:r>
              <a:rPr lang="en-US" sz="1600" b="1" i="0" u="none" strike="noStrike" baseline="0">
                <a:solidFill>
                  <a:srgbClr val="000000"/>
                </a:solidFill>
              </a:rPr>
              <a:t>regional staff review plans</a:t>
            </a:r>
            <a:r>
              <a:rPr lang="en-US" sz="1600" b="0" i="0" u="none" strike="noStrike" baseline="0">
                <a:solidFill>
                  <a:srgbClr val="000000"/>
                </a:solidFill>
              </a:rPr>
              <a:t>. </a:t>
            </a:r>
          </a:p>
        </p:txBody>
      </p:sp>
      <p:sp>
        <p:nvSpPr>
          <p:cNvPr id="12" name="Rectangle 11">
            <a:extLst>
              <a:ext uri="{FF2B5EF4-FFF2-40B4-BE49-F238E27FC236}">
                <a16:creationId xmlns:a16="http://schemas.microsoft.com/office/drawing/2014/main" id="{44533B7B-8398-6ADD-91EC-C5497BFE5E19}"/>
              </a:ext>
            </a:extLst>
          </p:cNvPr>
          <p:cNvSpPr/>
          <p:nvPr/>
        </p:nvSpPr>
        <p:spPr>
          <a:xfrm>
            <a:off x="2768714" y="3006168"/>
            <a:ext cx="2056510" cy="2554545"/>
          </a:xfrm>
          <a:prstGeom prst="rect">
            <a:avLst/>
          </a:prstGeom>
        </p:spPr>
        <p:txBody>
          <a:bodyPr wrap="square">
            <a:spAutoFit/>
          </a:bodyPr>
          <a:lstStyle/>
          <a:p>
            <a:r>
              <a:rPr lang="en-US" sz="1600" b="0" i="0" u="none" strike="noStrike" baseline="0">
                <a:solidFill>
                  <a:srgbClr val="000000"/>
                </a:solidFill>
              </a:rPr>
              <a:t>A plan must have all </a:t>
            </a:r>
            <a:r>
              <a:rPr lang="en-US" sz="1600" i="0" u="none" strike="noStrike" baseline="0">
                <a:solidFill>
                  <a:srgbClr val="000000"/>
                </a:solidFill>
              </a:rPr>
              <a:t>“Meets requirements” </a:t>
            </a:r>
            <a:r>
              <a:rPr lang="en-US" sz="1600" b="0" i="0" u="none" strike="noStrike" baseline="0">
                <a:solidFill>
                  <a:srgbClr val="000000"/>
                </a:solidFill>
              </a:rPr>
              <a:t>for approval. For plans with </a:t>
            </a:r>
            <a:r>
              <a:rPr lang="en-US" sz="1600" i="0" u="none" strike="noStrike" baseline="0">
                <a:solidFill>
                  <a:srgbClr val="000000"/>
                </a:solidFill>
              </a:rPr>
              <a:t>“Revision necessary” </a:t>
            </a:r>
            <a:r>
              <a:rPr lang="en-US" sz="1600" b="0" i="0" u="none" strike="noStrike" baseline="0">
                <a:solidFill>
                  <a:srgbClr val="000000"/>
                </a:solidFill>
              </a:rPr>
              <a:t>sections, </a:t>
            </a:r>
            <a:r>
              <a:rPr lang="en-US" sz="1600" b="1" i="0" u="none" strike="noStrike" baseline="0">
                <a:solidFill>
                  <a:srgbClr val="000000"/>
                </a:solidFill>
              </a:rPr>
              <a:t>the region will set up a meeting</a:t>
            </a:r>
            <a:r>
              <a:rPr lang="en-US" sz="1600" b="0" i="0" u="none" strike="noStrike" baseline="0">
                <a:solidFill>
                  <a:srgbClr val="000000"/>
                </a:solidFill>
              </a:rPr>
              <a:t> between the region and the provider to provide guidance.</a:t>
            </a:r>
          </a:p>
        </p:txBody>
      </p:sp>
      <p:sp>
        <p:nvSpPr>
          <p:cNvPr id="13" name="Rectangle 12">
            <a:extLst>
              <a:ext uri="{FF2B5EF4-FFF2-40B4-BE49-F238E27FC236}">
                <a16:creationId xmlns:a16="http://schemas.microsoft.com/office/drawing/2014/main" id="{A65050E9-864E-6CED-076E-E927A7536370}"/>
              </a:ext>
            </a:extLst>
          </p:cNvPr>
          <p:cNvSpPr/>
          <p:nvPr/>
        </p:nvSpPr>
        <p:spPr>
          <a:xfrm>
            <a:off x="5035776" y="3006168"/>
            <a:ext cx="2093796" cy="2062103"/>
          </a:xfrm>
          <a:prstGeom prst="rect">
            <a:avLst/>
          </a:prstGeom>
        </p:spPr>
        <p:txBody>
          <a:bodyPr wrap="square">
            <a:spAutoFit/>
          </a:bodyPr>
          <a:lstStyle/>
          <a:p>
            <a:r>
              <a:rPr lang="en-US" sz="1600" i="0" u="none" strike="noStrike" baseline="0">
                <a:solidFill>
                  <a:srgbClr val="000000"/>
                </a:solidFill>
              </a:rPr>
              <a:t>Following the review meeting, </a:t>
            </a:r>
            <a:r>
              <a:rPr lang="en-US" sz="1600" b="0" i="0" u="none" strike="noStrike" baseline="0">
                <a:solidFill>
                  <a:srgbClr val="000000"/>
                </a:solidFill>
              </a:rPr>
              <a:t>the provider and the review team align on a timeline to revise the necessary responses and resubmit for </a:t>
            </a:r>
            <a:r>
              <a:rPr lang="en-US" sz="1600" b="1" i="0" u="none" strike="noStrike" baseline="0">
                <a:solidFill>
                  <a:srgbClr val="000000"/>
                </a:solidFill>
              </a:rPr>
              <a:t>the region to review</a:t>
            </a:r>
            <a:r>
              <a:rPr lang="en-US" sz="1600">
                <a:solidFill>
                  <a:srgbClr val="000000"/>
                </a:solidFill>
              </a:rPr>
              <a:t>.</a:t>
            </a:r>
          </a:p>
        </p:txBody>
      </p:sp>
      <p:sp>
        <p:nvSpPr>
          <p:cNvPr id="14" name="Rectangle 13">
            <a:extLst>
              <a:ext uri="{FF2B5EF4-FFF2-40B4-BE49-F238E27FC236}">
                <a16:creationId xmlns:a16="http://schemas.microsoft.com/office/drawing/2014/main" id="{6F8FA088-7DE6-096A-1AE6-4475885890C1}"/>
              </a:ext>
            </a:extLst>
          </p:cNvPr>
          <p:cNvSpPr/>
          <p:nvPr/>
        </p:nvSpPr>
        <p:spPr>
          <a:xfrm>
            <a:off x="7340124" y="3006168"/>
            <a:ext cx="2056510" cy="2800767"/>
          </a:xfrm>
          <a:prstGeom prst="rect">
            <a:avLst/>
          </a:prstGeom>
        </p:spPr>
        <p:txBody>
          <a:bodyPr wrap="square">
            <a:spAutoFit/>
          </a:bodyPr>
          <a:lstStyle/>
          <a:p>
            <a:r>
              <a:rPr lang="en-US" sz="1600" b="0" i="0" u="none" strike="noStrike" baseline="0">
                <a:solidFill>
                  <a:srgbClr val="000000"/>
                </a:solidFill>
              </a:rPr>
              <a:t>Once all issues and concerns are resolved, </a:t>
            </a:r>
            <a:r>
              <a:rPr lang="en-US" sz="1600" b="1" i="0" u="none" strike="noStrike" baseline="0">
                <a:solidFill>
                  <a:srgbClr val="000000"/>
                </a:solidFill>
              </a:rPr>
              <a:t>the region will decide </a:t>
            </a:r>
            <a:r>
              <a:rPr lang="en-US" sz="1600" b="0" i="0" u="none" strike="noStrike" baseline="0">
                <a:solidFill>
                  <a:srgbClr val="000000"/>
                </a:solidFill>
              </a:rPr>
              <a:t>whether to approve</a:t>
            </a:r>
            <a:r>
              <a:rPr lang="en-US" sz="1600">
                <a:solidFill>
                  <a:srgbClr val="000000"/>
                </a:solidFill>
              </a:rPr>
              <a:t> </a:t>
            </a:r>
            <a:r>
              <a:rPr lang="en-US" sz="1600" b="0" i="0" u="none" strike="noStrike" baseline="0">
                <a:solidFill>
                  <a:srgbClr val="000000"/>
                </a:solidFill>
              </a:rPr>
              <a:t>or ask for edits to the plan. The </a:t>
            </a:r>
            <a:r>
              <a:rPr lang="en-US" sz="1600" b="1" i="0" u="none" strike="noStrike" baseline="0">
                <a:solidFill>
                  <a:srgbClr val="000000"/>
                </a:solidFill>
              </a:rPr>
              <a:t>Assistant Regional Director or Designee </a:t>
            </a:r>
            <a:r>
              <a:rPr lang="en-US" sz="1600" b="0" i="0" u="none" strike="noStrike" baseline="0">
                <a:solidFill>
                  <a:srgbClr val="000000"/>
                </a:solidFill>
              </a:rPr>
              <a:t>will then communicate the plan status to the provider. </a:t>
            </a:r>
          </a:p>
          <a:p>
            <a:endParaRPr lang="en-US" sz="1600" b="0" i="0" u="none" strike="noStrike" baseline="0">
              <a:solidFill>
                <a:srgbClr val="000000"/>
              </a:solidFill>
            </a:endParaRPr>
          </a:p>
        </p:txBody>
      </p:sp>
      <p:sp>
        <p:nvSpPr>
          <p:cNvPr id="15" name="Rectangle 14">
            <a:extLst>
              <a:ext uri="{FF2B5EF4-FFF2-40B4-BE49-F238E27FC236}">
                <a16:creationId xmlns:a16="http://schemas.microsoft.com/office/drawing/2014/main" id="{1B11531D-CD47-29D7-A074-D1D26ED85058}"/>
              </a:ext>
            </a:extLst>
          </p:cNvPr>
          <p:cNvSpPr/>
          <p:nvPr/>
        </p:nvSpPr>
        <p:spPr>
          <a:xfrm>
            <a:off x="9655696" y="3006168"/>
            <a:ext cx="2056510" cy="2308324"/>
          </a:xfrm>
          <a:prstGeom prst="rect">
            <a:avLst/>
          </a:prstGeom>
        </p:spPr>
        <p:txBody>
          <a:bodyPr wrap="square">
            <a:spAutoFit/>
          </a:bodyPr>
          <a:lstStyle/>
          <a:p>
            <a:r>
              <a:rPr lang="en-US" sz="1600" b="0" i="0" u="none" strike="noStrike" baseline="0">
                <a:solidFill>
                  <a:srgbClr val="000000"/>
                </a:solidFill>
              </a:rPr>
              <a:t>When approved, </a:t>
            </a:r>
            <a:r>
              <a:rPr lang="en-US" sz="1600" b="1" i="0" u="none" strike="noStrike" baseline="0">
                <a:solidFill>
                  <a:srgbClr val="000000"/>
                </a:solidFill>
              </a:rPr>
              <a:t>the region will email an approval letter to the provider </a:t>
            </a:r>
            <a:r>
              <a:rPr lang="en-US" sz="1600" i="0" u="none" strike="noStrike" baseline="0">
                <a:solidFill>
                  <a:srgbClr val="000000"/>
                </a:solidFill>
              </a:rPr>
              <a:t>and </a:t>
            </a:r>
            <a:r>
              <a:rPr lang="en-US" sz="1600" b="0" i="0" u="none" strike="noStrike" baseline="0">
                <a:solidFill>
                  <a:srgbClr val="000000"/>
                </a:solidFill>
              </a:rPr>
              <a:t>designate a staff member to act as the liaison. This liaison will </a:t>
            </a:r>
            <a:r>
              <a:rPr lang="en-US" sz="1600" b="1" i="0" u="none" strike="noStrike" baseline="0">
                <a:solidFill>
                  <a:srgbClr val="000000"/>
                </a:solidFill>
              </a:rPr>
              <a:t>monitor and support implementation.</a:t>
            </a:r>
            <a:endParaRPr lang="en-US" sz="1600" b="0" i="0" u="none" strike="noStrike" baseline="0">
              <a:solidFill>
                <a:srgbClr val="000000"/>
              </a:solidFill>
            </a:endParaRPr>
          </a:p>
        </p:txBody>
      </p:sp>
      <p:cxnSp>
        <p:nvCxnSpPr>
          <p:cNvPr id="17" name="Straight Connector 16">
            <a:extLst>
              <a:ext uri="{FF2B5EF4-FFF2-40B4-BE49-F238E27FC236}">
                <a16:creationId xmlns:a16="http://schemas.microsoft.com/office/drawing/2014/main" id="{E21204EB-90E1-1184-B78C-76BC70733E13}"/>
              </a:ext>
            </a:extLst>
          </p:cNvPr>
          <p:cNvCxnSpPr/>
          <p:nvPr/>
        </p:nvCxnSpPr>
        <p:spPr>
          <a:xfrm>
            <a:off x="508875" y="6487541"/>
            <a:ext cx="1964222"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D72A972-2DF9-A463-14B3-38FC3A9366A7}"/>
              </a:ext>
            </a:extLst>
          </p:cNvPr>
          <p:cNvCxnSpPr/>
          <p:nvPr/>
        </p:nvCxnSpPr>
        <p:spPr>
          <a:xfrm>
            <a:off x="2805352" y="6487541"/>
            <a:ext cx="1964222"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0A776FC-7530-C091-4E71-BFC1D3F7D316}"/>
              </a:ext>
            </a:extLst>
          </p:cNvPr>
          <p:cNvCxnSpPr/>
          <p:nvPr/>
        </p:nvCxnSpPr>
        <p:spPr>
          <a:xfrm>
            <a:off x="5072514" y="6487541"/>
            <a:ext cx="1964222"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3CEA958-D00E-C3D5-A02C-A194B53EE14C}"/>
              </a:ext>
            </a:extLst>
          </p:cNvPr>
          <p:cNvCxnSpPr/>
          <p:nvPr/>
        </p:nvCxnSpPr>
        <p:spPr>
          <a:xfrm>
            <a:off x="7368991" y="6487541"/>
            <a:ext cx="1964222"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CA83EF4-B61D-A428-07DB-010D1FC6AD69}"/>
              </a:ext>
            </a:extLst>
          </p:cNvPr>
          <p:cNvCxnSpPr/>
          <p:nvPr/>
        </p:nvCxnSpPr>
        <p:spPr>
          <a:xfrm>
            <a:off x="9655696" y="6487541"/>
            <a:ext cx="1964222"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Graphic 5">
            <a:extLst>
              <a:ext uri="{FF2B5EF4-FFF2-40B4-BE49-F238E27FC236}">
                <a16:creationId xmlns:a16="http://schemas.microsoft.com/office/drawing/2014/main" id="{C23F4064-5307-AEE5-69F3-2C9694596840}"/>
              </a:ext>
            </a:extLst>
          </p:cNvPr>
          <p:cNvSpPr/>
          <p:nvPr/>
        </p:nvSpPr>
        <p:spPr>
          <a:xfrm>
            <a:off x="10112478" y="1499325"/>
            <a:ext cx="957876" cy="955298"/>
          </a:xfrm>
          <a:custGeom>
            <a:avLst/>
            <a:gdLst>
              <a:gd name="connsiteX0" fmla="*/ 181474 w 362948"/>
              <a:gd name="connsiteY0" fmla="*/ 0 h 361971"/>
              <a:gd name="connsiteX1" fmla="*/ 0 w 362948"/>
              <a:gd name="connsiteY1" fmla="*/ 181305 h 361971"/>
              <a:gd name="connsiteX2" fmla="*/ 181474 w 362948"/>
              <a:gd name="connsiteY2" fmla="*/ 361972 h 361971"/>
              <a:gd name="connsiteX3" fmla="*/ 362948 w 362948"/>
              <a:gd name="connsiteY3" fmla="*/ 181305 h 361971"/>
              <a:gd name="connsiteX4" fmla="*/ 181474 w 362948"/>
              <a:gd name="connsiteY4" fmla="*/ 0 h 361971"/>
              <a:gd name="connsiteX5" fmla="*/ 181474 w 362948"/>
              <a:gd name="connsiteY5" fmla="*/ 0 h 361971"/>
              <a:gd name="connsiteX6" fmla="*/ 288186 w 362948"/>
              <a:gd name="connsiteY6" fmla="*/ 185135 h 361971"/>
              <a:gd name="connsiteX7" fmla="*/ 229399 w 362948"/>
              <a:gd name="connsiteY7" fmla="*/ 243868 h 361971"/>
              <a:gd name="connsiteX8" fmla="*/ 224926 w 362948"/>
              <a:gd name="connsiteY8" fmla="*/ 245783 h 361971"/>
              <a:gd name="connsiteX9" fmla="*/ 220453 w 362948"/>
              <a:gd name="connsiteY9" fmla="*/ 243868 h 361971"/>
              <a:gd name="connsiteX10" fmla="*/ 220453 w 362948"/>
              <a:gd name="connsiteY10" fmla="*/ 234931 h 361971"/>
              <a:gd name="connsiteX11" fmla="*/ 220453 w 362948"/>
              <a:gd name="connsiteY11" fmla="*/ 234931 h 361971"/>
              <a:gd name="connsiteX12" fmla="*/ 268377 w 362948"/>
              <a:gd name="connsiteY12" fmla="*/ 187051 h 361971"/>
              <a:gd name="connsiteX13" fmla="*/ 78596 w 362948"/>
              <a:gd name="connsiteY13" fmla="*/ 187051 h 361971"/>
              <a:gd name="connsiteX14" fmla="*/ 72206 w 362948"/>
              <a:gd name="connsiteY14" fmla="*/ 180667 h 361971"/>
              <a:gd name="connsiteX15" fmla="*/ 78596 w 362948"/>
              <a:gd name="connsiteY15" fmla="*/ 174283 h 361971"/>
              <a:gd name="connsiteX16" fmla="*/ 268377 w 362948"/>
              <a:gd name="connsiteY16" fmla="*/ 174283 h 361971"/>
              <a:gd name="connsiteX17" fmla="*/ 220453 w 362948"/>
              <a:gd name="connsiteY17" fmla="*/ 126403 h 361971"/>
              <a:gd name="connsiteX18" fmla="*/ 220453 w 362948"/>
              <a:gd name="connsiteY18" fmla="*/ 117465 h 361971"/>
              <a:gd name="connsiteX19" fmla="*/ 229399 w 362948"/>
              <a:gd name="connsiteY19" fmla="*/ 117465 h 361971"/>
              <a:gd name="connsiteX20" fmla="*/ 288186 w 362948"/>
              <a:gd name="connsiteY20" fmla="*/ 176198 h 361971"/>
              <a:gd name="connsiteX21" fmla="*/ 289464 w 362948"/>
              <a:gd name="connsiteY21" fmla="*/ 178113 h 361971"/>
              <a:gd name="connsiteX22" fmla="*/ 288186 w 362948"/>
              <a:gd name="connsiteY22" fmla="*/ 185135 h 361971"/>
              <a:gd name="connsiteX23" fmla="*/ 288186 w 362948"/>
              <a:gd name="connsiteY23" fmla="*/ 18513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2948" h="361971">
                <a:moveTo>
                  <a:pt x="181474" y="0"/>
                </a:moveTo>
                <a:cubicBezTo>
                  <a:pt x="81152" y="0"/>
                  <a:pt x="0" y="81077"/>
                  <a:pt x="0" y="181305"/>
                </a:cubicBezTo>
                <a:cubicBezTo>
                  <a:pt x="0" y="281534"/>
                  <a:pt x="81152" y="361972"/>
                  <a:pt x="181474" y="361972"/>
                </a:cubicBezTo>
                <a:cubicBezTo>
                  <a:pt x="281796" y="361972"/>
                  <a:pt x="362948" y="280895"/>
                  <a:pt x="362948" y="181305"/>
                </a:cubicBezTo>
                <a:cubicBezTo>
                  <a:pt x="362309" y="81077"/>
                  <a:pt x="281157" y="0"/>
                  <a:pt x="181474" y="0"/>
                </a:cubicBezTo>
                <a:cubicBezTo>
                  <a:pt x="181474" y="0"/>
                  <a:pt x="181474" y="0"/>
                  <a:pt x="181474" y="0"/>
                </a:cubicBezTo>
                <a:close/>
                <a:moveTo>
                  <a:pt x="288186" y="185135"/>
                </a:moveTo>
                <a:lnTo>
                  <a:pt x="229399" y="243868"/>
                </a:lnTo>
                <a:cubicBezTo>
                  <a:pt x="228121" y="245145"/>
                  <a:pt x="226843" y="245783"/>
                  <a:pt x="224926" y="245783"/>
                </a:cubicBezTo>
                <a:cubicBezTo>
                  <a:pt x="223009" y="245783"/>
                  <a:pt x="221731" y="245145"/>
                  <a:pt x="220453" y="243868"/>
                </a:cubicBezTo>
                <a:cubicBezTo>
                  <a:pt x="217897" y="241315"/>
                  <a:pt x="217897" y="237484"/>
                  <a:pt x="220453" y="234931"/>
                </a:cubicBezTo>
                <a:cubicBezTo>
                  <a:pt x="220453" y="234931"/>
                  <a:pt x="220453" y="234931"/>
                  <a:pt x="220453" y="234931"/>
                </a:cubicBezTo>
                <a:lnTo>
                  <a:pt x="268377" y="187051"/>
                </a:lnTo>
                <a:lnTo>
                  <a:pt x="78596" y="187051"/>
                </a:lnTo>
                <a:cubicBezTo>
                  <a:pt x="74762" y="187051"/>
                  <a:pt x="72206" y="184497"/>
                  <a:pt x="72206" y="180667"/>
                </a:cubicBezTo>
                <a:cubicBezTo>
                  <a:pt x="72206" y="176836"/>
                  <a:pt x="74762" y="174283"/>
                  <a:pt x="78596" y="174283"/>
                </a:cubicBezTo>
                <a:lnTo>
                  <a:pt x="268377" y="174283"/>
                </a:lnTo>
                <a:lnTo>
                  <a:pt x="220453" y="126403"/>
                </a:lnTo>
                <a:cubicBezTo>
                  <a:pt x="217897" y="123849"/>
                  <a:pt x="217897" y="120019"/>
                  <a:pt x="220453" y="117465"/>
                </a:cubicBezTo>
                <a:cubicBezTo>
                  <a:pt x="223009" y="114912"/>
                  <a:pt x="226843" y="114912"/>
                  <a:pt x="229399" y="117465"/>
                </a:cubicBezTo>
                <a:lnTo>
                  <a:pt x="288186" y="176198"/>
                </a:lnTo>
                <a:cubicBezTo>
                  <a:pt x="288825" y="176836"/>
                  <a:pt x="289464" y="177475"/>
                  <a:pt x="289464" y="178113"/>
                </a:cubicBezTo>
                <a:cubicBezTo>
                  <a:pt x="290742" y="180667"/>
                  <a:pt x="290103" y="183220"/>
                  <a:pt x="288186" y="185135"/>
                </a:cubicBezTo>
                <a:lnTo>
                  <a:pt x="288186" y="185135"/>
                </a:lnTo>
                <a:close/>
              </a:path>
            </a:pathLst>
          </a:custGeom>
          <a:solidFill>
            <a:schemeClr val="accent1">
              <a:lumMod val="20000"/>
              <a:lumOff val="80000"/>
            </a:schemeClr>
          </a:solidFill>
          <a:ln w="6390" cap="flat">
            <a:noFill/>
            <a:prstDash val="solid"/>
            <a:miter/>
          </a:ln>
        </p:spPr>
        <p:txBody>
          <a:bodyPr rtlCol="0" anchor="ctr"/>
          <a:lstStyle/>
          <a:p>
            <a:endParaRPr lang="en-US"/>
          </a:p>
        </p:txBody>
      </p:sp>
      <p:sp>
        <p:nvSpPr>
          <p:cNvPr id="48" name="Oval 47">
            <a:extLst>
              <a:ext uri="{FF2B5EF4-FFF2-40B4-BE49-F238E27FC236}">
                <a16:creationId xmlns:a16="http://schemas.microsoft.com/office/drawing/2014/main" id="{B8FC7228-E259-14B3-F264-728D4203A237}"/>
              </a:ext>
            </a:extLst>
          </p:cNvPr>
          <p:cNvSpPr/>
          <p:nvPr/>
        </p:nvSpPr>
        <p:spPr>
          <a:xfrm>
            <a:off x="3241156" y="1531073"/>
            <a:ext cx="954503" cy="95529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8" name="Group 57">
            <a:extLst>
              <a:ext uri="{FF2B5EF4-FFF2-40B4-BE49-F238E27FC236}">
                <a16:creationId xmlns:a16="http://schemas.microsoft.com/office/drawing/2014/main" id="{F78C3EB2-DBA0-E44A-B5AF-EEB90C4FECDE}"/>
              </a:ext>
            </a:extLst>
          </p:cNvPr>
          <p:cNvGrpSpPr/>
          <p:nvPr/>
        </p:nvGrpSpPr>
        <p:grpSpPr>
          <a:xfrm>
            <a:off x="3433129" y="1753347"/>
            <a:ext cx="572797" cy="502327"/>
            <a:chOff x="461963" y="750888"/>
            <a:chExt cx="1006475" cy="882650"/>
          </a:xfrm>
          <a:solidFill>
            <a:schemeClr val="bg1"/>
          </a:solidFill>
        </p:grpSpPr>
        <p:sp>
          <p:nvSpPr>
            <p:cNvPr id="59" name="Freeform 6">
              <a:extLst>
                <a:ext uri="{FF2B5EF4-FFF2-40B4-BE49-F238E27FC236}">
                  <a16:creationId xmlns:a16="http://schemas.microsoft.com/office/drawing/2014/main" id="{38D79AA9-4C35-4223-8D8C-03B094503CFC}"/>
                </a:ext>
              </a:extLst>
            </p:cNvPr>
            <p:cNvSpPr>
              <a:spLocks noEditPoints="1"/>
            </p:cNvSpPr>
            <p:nvPr/>
          </p:nvSpPr>
          <p:spPr bwMode="auto">
            <a:xfrm>
              <a:off x="461963" y="750888"/>
              <a:ext cx="1006475" cy="882650"/>
            </a:xfrm>
            <a:custGeom>
              <a:avLst/>
              <a:gdLst>
                <a:gd name="T0" fmla="*/ 332 w 342"/>
                <a:gd name="T1" fmla="*/ 0 h 300"/>
                <a:gd name="T2" fmla="*/ 171 w 342"/>
                <a:gd name="T3" fmla="*/ 0 h 300"/>
                <a:gd name="T4" fmla="*/ 11 w 342"/>
                <a:gd name="T5" fmla="*/ 0 h 300"/>
                <a:gd name="T6" fmla="*/ 0 w 342"/>
                <a:gd name="T7" fmla="*/ 10 h 300"/>
                <a:gd name="T8" fmla="*/ 0 w 342"/>
                <a:gd name="T9" fmla="*/ 289 h 300"/>
                <a:gd name="T10" fmla="*/ 11 w 342"/>
                <a:gd name="T11" fmla="*/ 300 h 300"/>
                <a:gd name="T12" fmla="*/ 171 w 342"/>
                <a:gd name="T13" fmla="*/ 300 h 300"/>
                <a:gd name="T14" fmla="*/ 332 w 342"/>
                <a:gd name="T15" fmla="*/ 300 h 300"/>
                <a:gd name="T16" fmla="*/ 342 w 342"/>
                <a:gd name="T17" fmla="*/ 289 h 300"/>
                <a:gd name="T18" fmla="*/ 342 w 342"/>
                <a:gd name="T19" fmla="*/ 10 h 300"/>
                <a:gd name="T20" fmla="*/ 332 w 342"/>
                <a:gd name="T21" fmla="*/ 0 h 300"/>
                <a:gd name="T22" fmla="*/ 322 w 342"/>
                <a:gd name="T23" fmla="*/ 279 h 300"/>
                <a:gd name="T24" fmla="*/ 171 w 342"/>
                <a:gd name="T25" fmla="*/ 279 h 300"/>
                <a:gd name="T26" fmla="*/ 21 w 342"/>
                <a:gd name="T27" fmla="*/ 279 h 300"/>
                <a:gd name="T28" fmla="*/ 21 w 342"/>
                <a:gd name="T29" fmla="*/ 21 h 300"/>
                <a:gd name="T30" fmla="*/ 171 w 342"/>
                <a:gd name="T31" fmla="*/ 21 h 300"/>
                <a:gd name="T32" fmla="*/ 322 w 342"/>
                <a:gd name="T33" fmla="*/ 21 h 300"/>
                <a:gd name="T34" fmla="*/ 322 w 342"/>
                <a:gd name="T35" fmla="*/ 27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2" h="300">
                  <a:moveTo>
                    <a:pt x="332" y="0"/>
                  </a:moveTo>
                  <a:cubicBezTo>
                    <a:pt x="171" y="0"/>
                    <a:pt x="171" y="0"/>
                    <a:pt x="171" y="0"/>
                  </a:cubicBezTo>
                  <a:cubicBezTo>
                    <a:pt x="11" y="0"/>
                    <a:pt x="11" y="0"/>
                    <a:pt x="11" y="0"/>
                  </a:cubicBezTo>
                  <a:cubicBezTo>
                    <a:pt x="5" y="0"/>
                    <a:pt x="0" y="5"/>
                    <a:pt x="0" y="10"/>
                  </a:cubicBezTo>
                  <a:cubicBezTo>
                    <a:pt x="0" y="289"/>
                    <a:pt x="0" y="289"/>
                    <a:pt x="0" y="289"/>
                  </a:cubicBezTo>
                  <a:cubicBezTo>
                    <a:pt x="0" y="295"/>
                    <a:pt x="5" y="300"/>
                    <a:pt x="11" y="300"/>
                  </a:cubicBezTo>
                  <a:cubicBezTo>
                    <a:pt x="171" y="300"/>
                    <a:pt x="171" y="300"/>
                    <a:pt x="171" y="300"/>
                  </a:cubicBezTo>
                  <a:cubicBezTo>
                    <a:pt x="332" y="300"/>
                    <a:pt x="332" y="300"/>
                    <a:pt x="332" y="300"/>
                  </a:cubicBezTo>
                  <a:cubicBezTo>
                    <a:pt x="338" y="300"/>
                    <a:pt x="342" y="295"/>
                    <a:pt x="342" y="289"/>
                  </a:cubicBezTo>
                  <a:cubicBezTo>
                    <a:pt x="342" y="10"/>
                    <a:pt x="342" y="10"/>
                    <a:pt x="342" y="10"/>
                  </a:cubicBezTo>
                  <a:cubicBezTo>
                    <a:pt x="342" y="5"/>
                    <a:pt x="338" y="0"/>
                    <a:pt x="332" y="0"/>
                  </a:cubicBezTo>
                  <a:close/>
                  <a:moveTo>
                    <a:pt x="322" y="279"/>
                  </a:moveTo>
                  <a:cubicBezTo>
                    <a:pt x="171" y="279"/>
                    <a:pt x="171" y="279"/>
                    <a:pt x="171" y="279"/>
                  </a:cubicBezTo>
                  <a:cubicBezTo>
                    <a:pt x="21" y="279"/>
                    <a:pt x="21" y="279"/>
                    <a:pt x="21" y="279"/>
                  </a:cubicBezTo>
                  <a:cubicBezTo>
                    <a:pt x="21" y="21"/>
                    <a:pt x="21" y="21"/>
                    <a:pt x="21" y="21"/>
                  </a:cubicBezTo>
                  <a:cubicBezTo>
                    <a:pt x="171" y="21"/>
                    <a:pt x="171" y="21"/>
                    <a:pt x="171" y="21"/>
                  </a:cubicBezTo>
                  <a:cubicBezTo>
                    <a:pt x="322" y="21"/>
                    <a:pt x="322" y="21"/>
                    <a:pt x="322" y="21"/>
                  </a:cubicBezTo>
                  <a:lnTo>
                    <a:pt x="322" y="2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7">
              <a:extLst>
                <a:ext uri="{FF2B5EF4-FFF2-40B4-BE49-F238E27FC236}">
                  <a16:creationId xmlns:a16="http://schemas.microsoft.com/office/drawing/2014/main" id="{85CFE9D8-F32B-8406-9104-80476C173C42}"/>
                </a:ext>
              </a:extLst>
            </p:cNvPr>
            <p:cNvSpPr>
              <a:spLocks noEditPoints="1"/>
            </p:cNvSpPr>
            <p:nvPr/>
          </p:nvSpPr>
          <p:spPr bwMode="auto">
            <a:xfrm>
              <a:off x="576263" y="882651"/>
              <a:ext cx="168275" cy="168275"/>
            </a:xfrm>
            <a:custGeom>
              <a:avLst/>
              <a:gdLst>
                <a:gd name="T0" fmla="*/ 57 w 57"/>
                <a:gd name="T1" fmla="*/ 10 h 57"/>
                <a:gd name="T2" fmla="*/ 57 w 57"/>
                <a:gd name="T3" fmla="*/ 10 h 57"/>
                <a:gd name="T4" fmla="*/ 54 w 57"/>
                <a:gd name="T5" fmla="*/ 3 h 57"/>
                <a:gd name="T6" fmla="*/ 47 w 57"/>
                <a:gd name="T7" fmla="*/ 0 h 57"/>
                <a:gd name="T8" fmla="*/ 47 w 57"/>
                <a:gd name="T9" fmla="*/ 0 h 57"/>
                <a:gd name="T10" fmla="*/ 47 w 57"/>
                <a:gd name="T11" fmla="*/ 0 h 57"/>
                <a:gd name="T12" fmla="*/ 29 w 57"/>
                <a:gd name="T13" fmla="*/ 0 h 57"/>
                <a:gd name="T14" fmla="*/ 10 w 57"/>
                <a:gd name="T15" fmla="*/ 0 h 57"/>
                <a:gd name="T16" fmla="*/ 10 w 57"/>
                <a:gd name="T17" fmla="*/ 0 h 57"/>
                <a:gd name="T18" fmla="*/ 10 w 57"/>
                <a:gd name="T19" fmla="*/ 0 h 57"/>
                <a:gd name="T20" fmla="*/ 10 w 57"/>
                <a:gd name="T21" fmla="*/ 0 h 57"/>
                <a:gd name="T22" fmla="*/ 3 w 57"/>
                <a:gd name="T23" fmla="*/ 3 h 57"/>
                <a:gd name="T24" fmla="*/ 3 w 57"/>
                <a:gd name="T25" fmla="*/ 3 h 57"/>
                <a:gd name="T26" fmla="*/ 0 w 57"/>
                <a:gd name="T27" fmla="*/ 10 h 57"/>
                <a:gd name="T28" fmla="*/ 0 w 57"/>
                <a:gd name="T29" fmla="*/ 10 h 57"/>
                <a:gd name="T30" fmla="*/ 0 w 57"/>
                <a:gd name="T31" fmla="*/ 10 h 57"/>
                <a:gd name="T32" fmla="*/ 0 w 57"/>
                <a:gd name="T33" fmla="*/ 47 h 57"/>
                <a:gd name="T34" fmla="*/ 0 w 57"/>
                <a:gd name="T35" fmla="*/ 47 h 57"/>
                <a:gd name="T36" fmla="*/ 0 w 57"/>
                <a:gd name="T37" fmla="*/ 47 h 57"/>
                <a:gd name="T38" fmla="*/ 0 w 57"/>
                <a:gd name="T39" fmla="*/ 47 h 57"/>
                <a:gd name="T40" fmla="*/ 3 w 57"/>
                <a:gd name="T41" fmla="*/ 54 h 57"/>
                <a:gd name="T42" fmla="*/ 10 w 57"/>
                <a:gd name="T43" fmla="*/ 57 h 57"/>
                <a:gd name="T44" fmla="*/ 10 w 57"/>
                <a:gd name="T45" fmla="*/ 57 h 57"/>
                <a:gd name="T46" fmla="*/ 10 w 57"/>
                <a:gd name="T47" fmla="*/ 57 h 57"/>
                <a:gd name="T48" fmla="*/ 29 w 57"/>
                <a:gd name="T49" fmla="*/ 57 h 57"/>
                <a:gd name="T50" fmla="*/ 47 w 57"/>
                <a:gd name="T51" fmla="*/ 57 h 57"/>
                <a:gd name="T52" fmla="*/ 47 w 57"/>
                <a:gd name="T53" fmla="*/ 57 h 57"/>
                <a:gd name="T54" fmla="*/ 47 w 57"/>
                <a:gd name="T55" fmla="*/ 57 h 57"/>
                <a:gd name="T56" fmla="*/ 47 w 57"/>
                <a:gd name="T57" fmla="*/ 57 h 57"/>
                <a:gd name="T58" fmla="*/ 54 w 57"/>
                <a:gd name="T59" fmla="*/ 54 h 57"/>
                <a:gd name="T60" fmla="*/ 57 w 57"/>
                <a:gd name="T61" fmla="*/ 47 h 57"/>
                <a:gd name="T62" fmla="*/ 57 w 57"/>
                <a:gd name="T63" fmla="*/ 47 h 57"/>
                <a:gd name="T64" fmla="*/ 57 w 57"/>
                <a:gd name="T65" fmla="*/ 47 h 57"/>
                <a:gd name="T66" fmla="*/ 57 w 57"/>
                <a:gd name="T67" fmla="*/ 10 h 57"/>
                <a:gd name="T68" fmla="*/ 57 w 57"/>
                <a:gd name="T69" fmla="*/ 10 h 57"/>
                <a:gd name="T70" fmla="*/ 46 w 57"/>
                <a:gd name="T71" fmla="*/ 46 h 57"/>
                <a:gd name="T72" fmla="*/ 29 w 57"/>
                <a:gd name="T73" fmla="*/ 46 h 57"/>
                <a:gd name="T74" fmla="*/ 11 w 57"/>
                <a:gd name="T75" fmla="*/ 46 h 57"/>
                <a:gd name="T76" fmla="*/ 11 w 57"/>
                <a:gd name="T77" fmla="*/ 11 h 57"/>
                <a:gd name="T78" fmla="*/ 29 w 57"/>
                <a:gd name="T79" fmla="*/ 11 h 57"/>
                <a:gd name="T80" fmla="*/ 46 w 57"/>
                <a:gd name="T81" fmla="*/ 11 h 57"/>
                <a:gd name="T82" fmla="*/ 46 w 57"/>
                <a:gd name="T83" fmla="*/ 4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57">
                  <a:moveTo>
                    <a:pt x="57" y="10"/>
                  </a:moveTo>
                  <a:cubicBezTo>
                    <a:pt x="57" y="10"/>
                    <a:pt x="57" y="10"/>
                    <a:pt x="57" y="10"/>
                  </a:cubicBezTo>
                  <a:cubicBezTo>
                    <a:pt x="57" y="7"/>
                    <a:pt x="56" y="5"/>
                    <a:pt x="54" y="3"/>
                  </a:cubicBezTo>
                  <a:cubicBezTo>
                    <a:pt x="52" y="1"/>
                    <a:pt x="50" y="0"/>
                    <a:pt x="47" y="0"/>
                  </a:cubicBezTo>
                  <a:cubicBezTo>
                    <a:pt x="47" y="0"/>
                    <a:pt x="47" y="0"/>
                    <a:pt x="47" y="0"/>
                  </a:cubicBezTo>
                  <a:cubicBezTo>
                    <a:pt x="47" y="0"/>
                    <a:pt x="47" y="0"/>
                    <a:pt x="47" y="0"/>
                  </a:cubicBezTo>
                  <a:cubicBezTo>
                    <a:pt x="29" y="0"/>
                    <a:pt x="29" y="0"/>
                    <a:pt x="29" y="0"/>
                  </a:cubicBezTo>
                  <a:cubicBezTo>
                    <a:pt x="10" y="0"/>
                    <a:pt x="10" y="0"/>
                    <a:pt x="10" y="0"/>
                  </a:cubicBezTo>
                  <a:cubicBezTo>
                    <a:pt x="10" y="0"/>
                    <a:pt x="10" y="0"/>
                    <a:pt x="10" y="0"/>
                  </a:cubicBezTo>
                  <a:cubicBezTo>
                    <a:pt x="10" y="0"/>
                    <a:pt x="10" y="0"/>
                    <a:pt x="10" y="0"/>
                  </a:cubicBezTo>
                  <a:cubicBezTo>
                    <a:pt x="10" y="0"/>
                    <a:pt x="10" y="0"/>
                    <a:pt x="10" y="0"/>
                  </a:cubicBezTo>
                  <a:cubicBezTo>
                    <a:pt x="8" y="0"/>
                    <a:pt x="5" y="1"/>
                    <a:pt x="3" y="3"/>
                  </a:cubicBezTo>
                  <a:cubicBezTo>
                    <a:pt x="3" y="3"/>
                    <a:pt x="3" y="3"/>
                    <a:pt x="3" y="3"/>
                  </a:cubicBezTo>
                  <a:cubicBezTo>
                    <a:pt x="2" y="5"/>
                    <a:pt x="0" y="8"/>
                    <a:pt x="0" y="10"/>
                  </a:cubicBezTo>
                  <a:cubicBezTo>
                    <a:pt x="0" y="10"/>
                    <a:pt x="0" y="10"/>
                    <a:pt x="0" y="10"/>
                  </a:cubicBezTo>
                  <a:cubicBezTo>
                    <a:pt x="0" y="10"/>
                    <a:pt x="0" y="10"/>
                    <a:pt x="0" y="10"/>
                  </a:cubicBezTo>
                  <a:cubicBezTo>
                    <a:pt x="0" y="47"/>
                    <a:pt x="0" y="47"/>
                    <a:pt x="0" y="47"/>
                  </a:cubicBezTo>
                  <a:cubicBezTo>
                    <a:pt x="0" y="47"/>
                    <a:pt x="0" y="47"/>
                    <a:pt x="0" y="47"/>
                  </a:cubicBezTo>
                  <a:cubicBezTo>
                    <a:pt x="0" y="47"/>
                    <a:pt x="0" y="47"/>
                    <a:pt x="0" y="47"/>
                  </a:cubicBezTo>
                  <a:cubicBezTo>
                    <a:pt x="0" y="47"/>
                    <a:pt x="0" y="47"/>
                    <a:pt x="0" y="47"/>
                  </a:cubicBezTo>
                  <a:cubicBezTo>
                    <a:pt x="0" y="49"/>
                    <a:pt x="2" y="52"/>
                    <a:pt x="3" y="54"/>
                  </a:cubicBezTo>
                  <a:cubicBezTo>
                    <a:pt x="5" y="56"/>
                    <a:pt x="8" y="57"/>
                    <a:pt x="10" y="57"/>
                  </a:cubicBezTo>
                  <a:cubicBezTo>
                    <a:pt x="10" y="57"/>
                    <a:pt x="10" y="57"/>
                    <a:pt x="10" y="57"/>
                  </a:cubicBezTo>
                  <a:cubicBezTo>
                    <a:pt x="10" y="57"/>
                    <a:pt x="10" y="57"/>
                    <a:pt x="10" y="57"/>
                  </a:cubicBezTo>
                  <a:cubicBezTo>
                    <a:pt x="29" y="57"/>
                    <a:pt x="29" y="57"/>
                    <a:pt x="29" y="57"/>
                  </a:cubicBezTo>
                  <a:cubicBezTo>
                    <a:pt x="47" y="57"/>
                    <a:pt x="47" y="57"/>
                    <a:pt x="47" y="57"/>
                  </a:cubicBezTo>
                  <a:cubicBezTo>
                    <a:pt x="47" y="57"/>
                    <a:pt x="47" y="57"/>
                    <a:pt x="47" y="57"/>
                  </a:cubicBezTo>
                  <a:cubicBezTo>
                    <a:pt x="47" y="57"/>
                    <a:pt x="47" y="57"/>
                    <a:pt x="47" y="57"/>
                  </a:cubicBezTo>
                  <a:cubicBezTo>
                    <a:pt x="47" y="57"/>
                    <a:pt x="47" y="57"/>
                    <a:pt x="47" y="57"/>
                  </a:cubicBezTo>
                  <a:cubicBezTo>
                    <a:pt x="50" y="57"/>
                    <a:pt x="52" y="56"/>
                    <a:pt x="54" y="54"/>
                  </a:cubicBezTo>
                  <a:cubicBezTo>
                    <a:pt x="56" y="52"/>
                    <a:pt x="57" y="49"/>
                    <a:pt x="57" y="47"/>
                  </a:cubicBezTo>
                  <a:cubicBezTo>
                    <a:pt x="57" y="47"/>
                    <a:pt x="57" y="47"/>
                    <a:pt x="57" y="47"/>
                  </a:cubicBezTo>
                  <a:cubicBezTo>
                    <a:pt x="57" y="47"/>
                    <a:pt x="57" y="47"/>
                    <a:pt x="57" y="47"/>
                  </a:cubicBezTo>
                  <a:cubicBezTo>
                    <a:pt x="57" y="10"/>
                    <a:pt x="57" y="10"/>
                    <a:pt x="57" y="10"/>
                  </a:cubicBezTo>
                  <a:cubicBezTo>
                    <a:pt x="57" y="10"/>
                    <a:pt x="57" y="10"/>
                    <a:pt x="57" y="10"/>
                  </a:cubicBezTo>
                  <a:close/>
                  <a:moveTo>
                    <a:pt x="46" y="46"/>
                  </a:moveTo>
                  <a:cubicBezTo>
                    <a:pt x="29" y="46"/>
                    <a:pt x="29" y="46"/>
                    <a:pt x="29" y="46"/>
                  </a:cubicBezTo>
                  <a:cubicBezTo>
                    <a:pt x="11" y="46"/>
                    <a:pt x="11" y="46"/>
                    <a:pt x="11" y="46"/>
                  </a:cubicBezTo>
                  <a:cubicBezTo>
                    <a:pt x="11" y="11"/>
                    <a:pt x="11" y="11"/>
                    <a:pt x="11" y="11"/>
                  </a:cubicBezTo>
                  <a:cubicBezTo>
                    <a:pt x="29" y="11"/>
                    <a:pt x="29" y="11"/>
                    <a:pt x="29" y="11"/>
                  </a:cubicBezTo>
                  <a:cubicBezTo>
                    <a:pt x="46" y="11"/>
                    <a:pt x="46" y="11"/>
                    <a:pt x="46" y="11"/>
                  </a:cubicBezTo>
                  <a:lnTo>
                    <a:pt x="46"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8">
              <a:extLst>
                <a:ext uri="{FF2B5EF4-FFF2-40B4-BE49-F238E27FC236}">
                  <a16:creationId xmlns:a16="http://schemas.microsoft.com/office/drawing/2014/main" id="{6BD1F078-0E08-743F-780A-C6354F07DC1F}"/>
                </a:ext>
              </a:extLst>
            </p:cNvPr>
            <p:cNvSpPr>
              <a:spLocks noEditPoints="1"/>
            </p:cNvSpPr>
            <p:nvPr/>
          </p:nvSpPr>
          <p:spPr bwMode="auto">
            <a:xfrm>
              <a:off x="576263" y="1119188"/>
              <a:ext cx="168275" cy="163513"/>
            </a:xfrm>
            <a:custGeom>
              <a:avLst/>
              <a:gdLst>
                <a:gd name="T0" fmla="*/ 57 w 57"/>
                <a:gd name="T1" fmla="*/ 10 h 56"/>
                <a:gd name="T2" fmla="*/ 54 w 57"/>
                <a:gd name="T3" fmla="*/ 3 h 56"/>
                <a:gd name="T4" fmla="*/ 47 w 57"/>
                <a:gd name="T5" fmla="*/ 0 h 56"/>
                <a:gd name="T6" fmla="*/ 47 w 57"/>
                <a:gd name="T7" fmla="*/ 0 h 56"/>
                <a:gd name="T8" fmla="*/ 47 w 57"/>
                <a:gd name="T9" fmla="*/ 0 h 56"/>
                <a:gd name="T10" fmla="*/ 29 w 57"/>
                <a:gd name="T11" fmla="*/ 0 h 56"/>
                <a:gd name="T12" fmla="*/ 10 w 57"/>
                <a:gd name="T13" fmla="*/ 0 h 56"/>
                <a:gd name="T14" fmla="*/ 10 w 57"/>
                <a:gd name="T15" fmla="*/ 0 h 56"/>
                <a:gd name="T16" fmla="*/ 10 w 57"/>
                <a:gd name="T17" fmla="*/ 0 h 56"/>
                <a:gd name="T18" fmla="*/ 10 w 57"/>
                <a:gd name="T19" fmla="*/ 0 h 56"/>
                <a:gd name="T20" fmla="*/ 3 w 57"/>
                <a:gd name="T21" fmla="*/ 3 h 56"/>
                <a:gd name="T22" fmla="*/ 3 w 57"/>
                <a:gd name="T23" fmla="*/ 3 h 56"/>
                <a:gd name="T24" fmla="*/ 0 w 57"/>
                <a:gd name="T25" fmla="*/ 10 h 56"/>
                <a:gd name="T26" fmla="*/ 0 w 57"/>
                <a:gd name="T27" fmla="*/ 10 h 56"/>
                <a:gd name="T28" fmla="*/ 0 w 57"/>
                <a:gd name="T29" fmla="*/ 10 h 56"/>
                <a:gd name="T30" fmla="*/ 0 w 57"/>
                <a:gd name="T31" fmla="*/ 46 h 56"/>
                <a:gd name="T32" fmla="*/ 0 w 57"/>
                <a:gd name="T33" fmla="*/ 46 h 56"/>
                <a:gd name="T34" fmla="*/ 0 w 57"/>
                <a:gd name="T35" fmla="*/ 46 h 56"/>
                <a:gd name="T36" fmla="*/ 0 w 57"/>
                <a:gd name="T37" fmla="*/ 46 h 56"/>
                <a:gd name="T38" fmla="*/ 3 w 57"/>
                <a:gd name="T39" fmla="*/ 53 h 56"/>
                <a:gd name="T40" fmla="*/ 10 w 57"/>
                <a:gd name="T41" fmla="*/ 56 h 56"/>
                <a:gd name="T42" fmla="*/ 10 w 57"/>
                <a:gd name="T43" fmla="*/ 56 h 56"/>
                <a:gd name="T44" fmla="*/ 10 w 57"/>
                <a:gd name="T45" fmla="*/ 56 h 56"/>
                <a:gd name="T46" fmla="*/ 29 w 57"/>
                <a:gd name="T47" fmla="*/ 56 h 56"/>
                <a:gd name="T48" fmla="*/ 47 w 57"/>
                <a:gd name="T49" fmla="*/ 56 h 56"/>
                <a:gd name="T50" fmla="*/ 47 w 57"/>
                <a:gd name="T51" fmla="*/ 56 h 56"/>
                <a:gd name="T52" fmla="*/ 47 w 57"/>
                <a:gd name="T53" fmla="*/ 56 h 56"/>
                <a:gd name="T54" fmla="*/ 47 w 57"/>
                <a:gd name="T55" fmla="*/ 56 h 56"/>
                <a:gd name="T56" fmla="*/ 54 w 57"/>
                <a:gd name="T57" fmla="*/ 53 h 56"/>
                <a:gd name="T58" fmla="*/ 57 w 57"/>
                <a:gd name="T59" fmla="*/ 46 h 56"/>
                <a:gd name="T60" fmla="*/ 57 w 57"/>
                <a:gd name="T61" fmla="*/ 46 h 56"/>
                <a:gd name="T62" fmla="*/ 57 w 57"/>
                <a:gd name="T63" fmla="*/ 46 h 56"/>
                <a:gd name="T64" fmla="*/ 57 w 57"/>
                <a:gd name="T65" fmla="*/ 10 h 56"/>
                <a:gd name="T66" fmla="*/ 57 w 57"/>
                <a:gd name="T67" fmla="*/ 10 h 56"/>
                <a:gd name="T68" fmla="*/ 57 w 57"/>
                <a:gd name="T69" fmla="*/ 10 h 56"/>
                <a:gd name="T70" fmla="*/ 46 w 57"/>
                <a:gd name="T71" fmla="*/ 46 h 56"/>
                <a:gd name="T72" fmla="*/ 29 w 57"/>
                <a:gd name="T73" fmla="*/ 46 h 56"/>
                <a:gd name="T74" fmla="*/ 11 w 57"/>
                <a:gd name="T75" fmla="*/ 46 h 56"/>
                <a:gd name="T76" fmla="*/ 11 w 57"/>
                <a:gd name="T77" fmla="*/ 10 h 56"/>
                <a:gd name="T78" fmla="*/ 29 w 57"/>
                <a:gd name="T79" fmla="*/ 10 h 56"/>
                <a:gd name="T80" fmla="*/ 46 w 57"/>
                <a:gd name="T81" fmla="*/ 10 h 56"/>
                <a:gd name="T82" fmla="*/ 46 w 57"/>
                <a:gd name="T83"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56">
                  <a:moveTo>
                    <a:pt x="57" y="10"/>
                  </a:moveTo>
                  <a:cubicBezTo>
                    <a:pt x="57" y="7"/>
                    <a:pt x="56" y="5"/>
                    <a:pt x="54" y="3"/>
                  </a:cubicBezTo>
                  <a:cubicBezTo>
                    <a:pt x="52" y="1"/>
                    <a:pt x="50" y="0"/>
                    <a:pt x="47" y="0"/>
                  </a:cubicBezTo>
                  <a:cubicBezTo>
                    <a:pt x="47" y="0"/>
                    <a:pt x="47" y="0"/>
                    <a:pt x="47" y="0"/>
                  </a:cubicBezTo>
                  <a:cubicBezTo>
                    <a:pt x="47" y="0"/>
                    <a:pt x="47" y="0"/>
                    <a:pt x="47" y="0"/>
                  </a:cubicBezTo>
                  <a:cubicBezTo>
                    <a:pt x="29" y="0"/>
                    <a:pt x="29" y="0"/>
                    <a:pt x="29" y="0"/>
                  </a:cubicBezTo>
                  <a:cubicBezTo>
                    <a:pt x="10" y="0"/>
                    <a:pt x="10" y="0"/>
                    <a:pt x="10" y="0"/>
                  </a:cubicBezTo>
                  <a:cubicBezTo>
                    <a:pt x="10" y="0"/>
                    <a:pt x="10" y="0"/>
                    <a:pt x="10" y="0"/>
                  </a:cubicBezTo>
                  <a:cubicBezTo>
                    <a:pt x="10" y="0"/>
                    <a:pt x="10" y="0"/>
                    <a:pt x="10" y="0"/>
                  </a:cubicBezTo>
                  <a:cubicBezTo>
                    <a:pt x="10" y="0"/>
                    <a:pt x="10" y="0"/>
                    <a:pt x="10" y="0"/>
                  </a:cubicBezTo>
                  <a:cubicBezTo>
                    <a:pt x="8" y="0"/>
                    <a:pt x="5" y="1"/>
                    <a:pt x="3" y="3"/>
                  </a:cubicBezTo>
                  <a:cubicBezTo>
                    <a:pt x="3" y="3"/>
                    <a:pt x="3" y="3"/>
                    <a:pt x="3" y="3"/>
                  </a:cubicBezTo>
                  <a:cubicBezTo>
                    <a:pt x="2" y="5"/>
                    <a:pt x="0" y="7"/>
                    <a:pt x="0" y="10"/>
                  </a:cubicBezTo>
                  <a:cubicBezTo>
                    <a:pt x="0" y="10"/>
                    <a:pt x="0" y="10"/>
                    <a:pt x="0" y="10"/>
                  </a:cubicBezTo>
                  <a:cubicBezTo>
                    <a:pt x="0" y="10"/>
                    <a:pt x="0" y="10"/>
                    <a:pt x="0" y="10"/>
                  </a:cubicBezTo>
                  <a:cubicBezTo>
                    <a:pt x="0" y="46"/>
                    <a:pt x="0" y="46"/>
                    <a:pt x="0" y="46"/>
                  </a:cubicBezTo>
                  <a:cubicBezTo>
                    <a:pt x="0" y="46"/>
                    <a:pt x="0" y="46"/>
                    <a:pt x="0" y="46"/>
                  </a:cubicBezTo>
                  <a:cubicBezTo>
                    <a:pt x="0" y="46"/>
                    <a:pt x="0" y="46"/>
                    <a:pt x="0" y="46"/>
                  </a:cubicBezTo>
                  <a:cubicBezTo>
                    <a:pt x="0" y="46"/>
                    <a:pt x="0" y="46"/>
                    <a:pt x="0" y="46"/>
                  </a:cubicBezTo>
                  <a:cubicBezTo>
                    <a:pt x="0" y="49"/>
                    <a:pt x="2" y="52"/>
                    <a:pt x="3" y="53"/>
                  </a:cubicBezTo>
                  <a:cubicBezTo>
                    <a:pt x="5" y="55"/>
                    <a:pt x="8" y="56"/>
                    <a:pt x="10" y="56"/>
                  </a:cubicBezTo>
                  <a:cubicBezTo>
                    <a:pt x="10" y="56"/>
                    <a:pt x="10" y="56"/>
                    <a:pt x="10" y="56"/>
                  </a:cubicBezTo>
                  <a:cubicBezTo>
                    <a:pt x="10" y="56"/>
                    <a:pt x="10" y="56"/>
                    <a:pt x="10" y="56"/>
                  </a:cubicBezTo>
                  <a:cubicBezTo>
                    <a:pt x="29" y="56"/>
                    <a:pt x="29" y="56"/>
                    <a:pt x="29" y="56"/>
                  </a:cubicBezTo>
                  <a:cubicBezTo>
                    <a:pt x="47" y="56"/>
                    <a:pt x="47" y="56"/>
                    <a:pt x="47" y="56"/>
                  </a:cubicBezTo>
                  <a:cubicBezTo>
                    <a:pt x="47" y="56"/>
                    <a:pt x="47" y="56"/>
                    <a:pt x="47" y="56"/>
                  </a:cubicBezTo>
                  <a:cubicBezTo>
                    <a:pt x="47" y="56"/>
                    <a:pt x="47" y="56"/>
                    <a:pt x="47" y="56"/>
                  </a:cubicBezTo>
                  <a:cubicBezTo>
                    <a:pt x="47" y="56"/>
                    <a:pt x="47" y="56"/>
                    <a:pt x="47" y="56"/>
                  </a:cubicBezTo>
                  <a:cubicBezTo>
                    <a:pt x="50" y="56"/>
                    <a:pt x="52" y="55"/>
                    <a:pt x="54" y="53"/>
                  </a:cubicBezTo>
                  <a:cubicBezTo>
                    <a:pt x="56" y="52"/>
                    <a:pt x="57" y="49"/>
                    <a:pt x="57" y="46"/>
                  </a:cubicBezTo>
                  <a:cubicBezTo>
                    <a:pt x="57" y="46"/>
                    <a:pt x="57" y="46"/>
                    <a:pt x="57" y="46"/>
                  </a:cubicBezTo>
                  <a:cubicBezTo>
                    <a:pt x="57" y="46"/>
                    <a:pt x="57" y="46"/>
                    <a:pt x="57" y="46"/>
                  </a:cubicBezTo>
                  <a:cubicBezTo>
                    <a:pt x="57" y="10"/>
                    <a:pt x="57" y="10"/>
                    <a:pt x="57" y="10"/>
                  </a:cubicBezTo>
                  <a:cubicBezTo>
                    <a:pt x="57" y="10"/>
                    <a:pt x="57" y="10"/>
                    <a:pt x="57" y="10"/>
                  </a:cubicBezTo>
                  <a:cubicBezTo>
                    <a:pt x="57" y="10"/>
                    <a:pt x="57" y="10"/>
                    <a:pt x="57" y="10"/>
                  </a:cubicBezTo>
                  <a:close/>
                  <a:moveTo>
                    <a:pt x="46" y="46"/>
                  </a:moveTo>
                  <a:cubicBezTo>
                    <a:pt x="29" y="46"/>
                    <a:pt x="29" y="46"/>
                    <a:pt x="29" y="46"/>
                  </a:cubicBezTo>
                  <a:cubicBezTo>
                    <a:pt x="11" y="46"/>
                    <a:pt x="11" y="46"/>
                    <a:pt x="11" y="46"/>
                  </a:cubicBezTo>
                  <a:cubicBezTo>
                    <a:pt x="11" y="10"/>
                    <a:pt x="11" y="10"/>
                    <a:pt x="11" y="10"/>
                  </a:cubicBezTo>
                  <a:cubicBezTo>
                    <a:pt x="29" y="10"/>
                    <a:pt x="29" y="10"/>
                    <a:pt x="29" y="10"/>
                  </a:cubicBezTo>
                  <a:cubicBezTo>
                    <a:pt x="46" y="10"/>
                    <a:pt x="46" y="10"/>
                    <a:pt x="46" y="10"/>
                  </a:cubicBezTo>
                  <a:lnTo>
                    <a:pt x="46"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9">
              <a:extLst>
                <a:ext uri="{FF2B5EF4-FFF2-40B4-BE49-F238E27FC236}">
                  <a16:creationId xmlns:a16="http://schemas.microsoft.com/office/drawing/2014/main" id="{8AA23E07-B2B8-E396-8EB3-24F4F480C595}"/>
                </a:ext>
              </a:extLst>
            </p:cNvPr>
            <p:cNvSpPr>
              <a:spLocks noEditPoints="1"/>
            </p:cNvSpPr>
            <p:nvPr/>
          </p:nvSpPr>
          <p:spPr bwMode="auto">
            <a:xfrm>
              <a:off x="576263" y="1354138"/>
              <a:ext cx="168275" cy="165100"/>
            </a:xfrm>
            <a:custGeom>
              <a:avLst/>
              <a:gdLst>
                <a:gd name="T0" fmla="*/ 57 w 57"/>
                <a:gd name="T1" fmla="*/ 10 h 56"/>
                <a:gd name="T2" fmla="*/ 54 w 57"/>
                <a:gd name="T3" fmla="*/ 3 h 56"/>
                <a:gd name="T4" fmla="*/ 47 w 57"/>
                <a:gd name="T5" fmla="*/ 0 h 56"/>
                <a:gd name="T6" fmla="*/ 47 w 57"/>
                <a:gd name="T7" fmla="*/ 0 h 56"/>
                <a:gd name="T8" fmla="*/ 47 w 57"/>
                <a:gd name="T9" fmla="*/ 0 h 56"/>
                <a:gd name="T10" fmla="*/ 29 w 57"/>
                <a:gd name="T11" fmla="*/ 0 h 56"/>
                <a:gd name="T12" fmla="*/ 10 w 57"/>
                <a:gd name="T13" fmla="*/ 0 h 56"/>
                <a:gd name="T14" fmla="*/ 10 w 57"/>
                <a:gd name="T15" fmla="*/ 0 h 56"/>
                <a:gd name="T16" fmla="*/ 10 w 57"/>
                <a:gd name="T17" fmla="*/ 0 h 56"/>
                <a:gd name="T18" fmla="*/ 10 w 57"/>
                <a:gd name="T19" fmla="*/ 0 h 56"/>
                <a:gd name="T20" fmla="*/ 3 w 57"/>
                <a:gd name="T21" fmla="*/ 3 h 56"/>
                <a:gd name="T22" fmla="*/ 3 w 57"/>
                <a:gd name="T23" fmla="*/ 3 h 56"/>
                <a:gd name="T24" fmla="*/ 0 w 57"/>
                <a:gd name="T25" fmla="*/ 10 h 56"/>
                <a:gd name="T26" fmla="*/ 0 w 57"/>
                <a:gd name="T27" fmla="*/ 10 h 56"/>
                <a:gd name="T28" fmla="*/ 0 w 57"/>
                <a:gd name="T29" fmla="*/ 10 h 56"/>
                <a:gd name="T30" fmla="*/ 0 w 57"/>
                <a:gd name="T31" fmla="*/ 46 h 56"/>
                <a:gd name="T32" fmla="*/ 0 w 57"/>
                <a:gd name="T33" fmla="*/ 46 h 56"/>
                <a:gd name="T34" fmla="*/ 0 w 57"/>
                <a:gd name="T35" fmla="*/ 46 h 56"/>
                <a:gd name="T36" fmla="*/ 0 w 57"/>
                <a:gd name="T37" fmla="*/ 46 h 56"/>
                <a:gd name="T38" fmla="*/ 3 w 57"/>
                <a:gd name="T39" fmla="*/ 53 h 56"/>
                <a:gd name="T40" fmla="*/ 10 w 57"/>
                <a:gd name="T41" fmla="*/ 56 h 56"/>
                <a:gd name="T42" fmla="*/ 10 w 57"/>
                <a:gd name="T43" fmla="*/ 56 h 56"/>
                <a:gd name="T44" fmla="*/ 10 w 57"/>
                <a:gd name="T45" fmla="*/ 56 h 56"/>
                <a:gd name="T46" fmla="*/ 29 w 57"/>
                <a:gd name="T47" fmla="*/ 56 h 56"/>
                <a:gd name="T48" fmla="*/ 47 w 57"/>
                <a:gd name="T49" fmla="*/ 56 h 56"/>
                <a:gd name="T50" fmla="*/ 47 w 57"/>
                <a:gd name="T51" fmla="*/ 56 h 56"/>
                <a:gd name="T52" fmla="*/ 47 w 57"/>
                <a:gd name="T53" fmla="*/ 56 h 56"/>
                <a:gd name="T54" fmla="*/ 47 w 57"/>
                <a:gd name="T55" fmla="*/ 56 h 56"/>
                <a:gd name="T56" fmla="*/ 54 w 57"/>
                <a:gd name="T57" fmla="*/ 53 h 56"/>
                <a:gd name="T58" fmla="*/ 57 w 57"/>
                <a:gd name="T59" fmla="*/ 46 h 56"/>
                <a:gd name="T60" fmla="*/ 57 w 57"/>
                <a:gd name="T61" fmla="*/ 46 h 56"/>
                <a:gd name="T62" fmla="*/ 57 w 57"/>
                <a:gd name="T63" fmla="*/ 46 h 56"/>
                <a:gd name="T64" fmla="*/ 57 w 57"/>
                <a:gd name="T65" fmla="*/ 10 h 56"/>
                <a:gd name="T66" fmla="*/ 57 w 57"/>
                <a:gd name="T67" fmla="*/ 10 h 56"/>
                <a:gd name="T68" fmla="*/ 57 w 57"/>
                <a:gd name="T69" fmla="*/ 10 h 56"/>
                <a:gd name="T70" fmla="*/ 46 w 57"/>
                <a:gd name="T71" fmla="*/ 46 h 56"/>
                <a:gd name="T72" fmla="*/ 29 w 57"/>
                <a:gd name="T73" fmla="*/ 46 h 56"/>
                <a:gd name="T74" fmla="*/ 11 w 57"/>
                <a:gd name="T75" fmla="*/ 46 h 56"/>
                <a:gd name="T76" fmla="*/ 11 w 57"/>
                <a:gd name="T77" fmla="*/ 10 h 56"/>
                <a:gd name="T78" fmla="*/ 29 w 57"/>
                <a:gd name="T79" fmla="*/ 10 h 56"/>
                <a:gd name="T80" fmla="*/ 46 w 57"/>
                <a:gd name="T81" fmla="*/ 10 h 56"/>
                <a:gd name="T82" fmla="*/ 46 w 57"/>
                <a:gd name="T83"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56">
                  <a:moveTo>
                    <a:pt x="57" y="10"/>
                  </a:moveTo>
                  <a:cubicBezTo>
                    <a:pt x="57" y="7"/>
                    <a:pt x="56" y="4"/>
                    <a:pt x="54" y="3"/>
                  </a:cubicBezTo>
                  <a:cubicBezTo>
                    <a:pt x="52" y="1"/>
                    <a:pt x="50" y="0"/>
                    <a:pt x="47" y="0"/>
                  </a:cubicBezTo>
                  <a:cubicBezTo>
                    <a:pt x="47" y="0"/>
                    <a:pt x="47" y="0"/>
                    <a:pt x="47" y="0"/>
                  </a:cubicBezTo>
                  <a:cubicBezTo>
                    <a:pt x="47" y="0"/>
                    <a:pt x="47" y="0"/>
                    <a:pt x="47" y="0"/>
                  </a:cubicBezTo>
                  <a:cubicBezTo>
                    <a:pt x="29" y="0"/>
                    <a:pt x="29" y="0"/>
                    <a:pt x="29" y="0"/>
                  </a:cubicBezTo>
                  <a:cubicBezTo>
                    <a:pt x="10" y="0"/>
                    <a:pt x="10" y="0"/>
                    <a:pt x="10" y="0"/>
                  </a:cubicBezTo>
                  <a:cubicBezTo>
                    <a:pt x="10" y="0"/>
                    <a:pt x="10" y="0"/>
                    <a:pt x="10" y="0"/>
                  </a:cubicBezTo>
                  <a:cubicBezTo>
                    <a:pt x="10" y="0"/>
                    <a:pt x="10" y="0"/>
                    <a:pt x="10" y="0"/>
                  </a:cubicBezTo>
                  <a:cubicBezTo>
                    <a:pt x="10" y="0"/>
                    <a:pt x="10" y="0"/>
                    <a:pt x="10" y="0"/>
                  </a:cubicBezTo>
                  <a:cubicBezTo>
                    <a:pt x="8" y="0"/>
                    <a:pt x="5" y="1"/>
                    <a:pt x="3" y="3"/>
                  </a:cubicBezTo>
                  <a:cubicBezTo>
                    <a:pt x="3" y="3"/>
                    <a:pt x="3" y="3"/>
                    <a:pt x="3" y="3"/>
                  </a:cubicBezTo>
                  <a:cubicBezTo>
                    <a:pt x="2" y="4"/>
                    <a:pt x="0" y="7"/>
                    <a:pt x="0" y="10"/>
                  </a:cubicBezTo>
                  <a:cubicBezTo>
                    <a:pt x="0" y="10"/>
                    <a:pt x="0" y="10"/>
                    <a:pt x="0" y="10"/>
                  </a:cubicBezTo>
                  <a:cubicBezTo>
                    <a:pt x="0" y="10"/>
                    <a:pt x="0" y="10"/>
                    <a:pt x="0" y="10"/>
                  </a:cubicBezTo>
                  <a:cubicBezTo>
                    <a:pt x="0" y="46"/>
                    <a:pt x="0" y="46"/>
                    <a:pt x="0" y="46"/>
                  </a:cubicBezTo>
                  <a:cubicBezTo>
                    <a:pt x="0" y="46"/>
                    <a:pt x="0" y="46"/>
                    <a:pt x="0" y="46"/>
                  </a:cubicBezTo>
                  <a:cubicBezTo>
                    <a:pt x="0" y="46"/>
                    <a:pt x="0" y="46"/>
                    <a:pt x="0" y="46"/>
                  </a:cubicBezTo>
                  <a:cubicBezTo>
                    <a:pt x="0" y="46"/>
                    <a:pt x="0" y="46"/>
                    <a:pt x="0" y="46"/>
                  </a:cubicBezTo>
                  <a:cubicBezTo>
                    <a:pt x="0" y="49"/>
                    <a:pt x="2" y="51"/>
                    <a:pt x="3" y="53"/>
                  </a:cubicBezTo>
                  <a:cubicBezTo>
                    <a:pt x="5" y="55"/>
                    <a:pt x="8" y="56"/>
                    <a:pt x="10" y="56"/>
                  </a:cubicBezTo>
                  <a:cubicBezTo>
                    <a:pt x="10" y="56"/>
                    <a:pt x="10" y="56"/>
                    <a:pt x="10" y="56"/>
                  </a:cubicBezTo>
                  <a:cubicBezTo>
                    <a:pt x="10" y="56"/>
                    <a:pt x="10" y="56"/>
                    <a:pt x="10" y="56"/>
                  </a:cubicBezTo>
                  <a:cubicBezTo>
                    <a:pt x="29" y="56"/>
                    <a:pt x="29" y="56"/>
                    <a:pt x="29" y="56"/>
                  </a:cubicBezTo>
                  <a:cubicBezTo>
                    <a:pt x="47" y="56"/>
                    <a:pt x="47" y="56"/>
                    <a:pt x="47" y="56"/>
                  </a:cubicBezTo>
                  <a:cubicBezTo>
                    <a:pt x="47" y="56"/>
                    <a:pt x="47" y="56"/>
                    <a:pt x="47" y="56"/>
                  </a:cubicBezTo>
                  <a:cubicBezTo>
                    <a:pt x="47" y="56"/>
                    <a:pt x="47" y="56"/>
                    <a:pt x="47" y="56"/>
                  </a:cubicBezTo>
                  <a:cubicBezTo>
                    <a:pt x="47" y="56"/>
                    <a:pt x="47" y="56"/>
                    <a:pt x="47" y="56"/>
                  </a:cubicBezTo>
                  <a:cubicBezTo>
                    <a:pt x="50" y="56"/>
                    <a:pt x="52" y="55"/>
                    <a:pt x="54" y="53"/>
                  </a:cubicBezTo>
                  <a:cubicBezTo>
                    <a:pt x="56" y="51"/>
                    <a:pt x="57" y="49"/>
                    <a:pt x="57" y="46"/>
                  </a:cubicBezTo>
                  <a:cubicBezTo>
                    <a:pt x="57" y="46"/>
                    <a:pt x="57" y="46"/>
                    <a:pt x="57" y="46"/>
                  </a:cubicBezTo>
                  <a:cubicBezTo>
                    <a:pt x="57" y="46"/>
                    <a:pt x="57" y="46"/>
                    <a:pt x="57" y="46"/>
                  </a:cubicBezTo>
                  <a:cubicBezTo>
                    <a:pt x="57" y="10"/>
                    <a:pt x="57" y="10"/>
                    <a:pt x="57" y="10"/>
                  </a:cubicBezTo>
                  <a:cubicBezTo>
                    <a:pt x="57" y="10"/>
                    <a:pt x="57" y="10"/>
                    <a:pt x="57" y="10"/>
                  </a:cubicBezTo>
                  <a:cubicBezTo>
                    <a:pt x="57" y="10"/>
                    <a:pt x="57" y="10"/>
                    <a:pt x="57" y="10"/>
                  </a:cubicBezTo>
                  <a:close/>
                  <a:moveTo>
                    <a:pt x="46" y="46"/>
                  </a:moveTo>
                  <a:cubicBezTo>
                    <a:pt x="29" y="46"/>
                    <a:pt x="29" y="46"/>
                    <a:pt x="29" y="46"/>
                  </a:cubicBezTo>
                  <a:cubicBezTo>
                    <a:pt x="11" y="46"/>
                    <a:pt x="11" y="46"/>
                    <a:pt x="11" y="46"/>
                  </a:cubicBezTo>
                  <a:cubicBezTo>
                    <a:pt x="11" y="10"/>
                    <a:pt x="11" y="10"/>
                    <a:pt x="11" y="10"/>
                  </a:cubicBezTo>
                  <a:cubicBezTo>
                    <a:pt x="29" y="10"/>
                    <a:pt x="29" y="10"/>
                    <a:pt x="29" y="10"/>
                  </a:cubicBezTo>
                  <a:cubicBezTo>
                    <a:pt x="46" y="10"/>
                    <a:pt x="46" y="10"/>
                    <a:pt x="46" y="10"/>
                  </a:cubicBezTo>
                  <a:lnTo>
                    <a:pt x="46"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0">
              <a:extLst>
                <a:ext uri="{FF2B5EF4-FFF2-40B4-BE49-F238E27FC236}">
                  <a16:creationId xmlns:a16="http://schemas.microsoft.com/office/drawing/2014/main" id="{3C91A4CC-A973-3CFF-86C6-F9CB25A93CBE}"/>
                </a:ext>
              </a:extLst>
            </p:cNvPr>
            <p:cNvSpPr>
              <a:spLocks/>
            </p:cNvSpPr>
            <p:nvPr/>
          </p:nvSpPr>
          <p:spPr bwMode="auto">
            <a:xfrm>
              <a:off x="814388" y="950913"/>
              <a:ext cx="512763" cy="31750"/>
            </a:xfrm>
            <a:custGeom>
              <a:avLst/>
              <a:gdLst>
                <a:gd name="T0" fmla="*/ 6 w 174"/>
                <a:gd name="T1" fmla="*/ 11 h 11"/>
                <a:gd name="T2" fmla="*/ 0 w 174"/>
                <a:gd name="T3" fmla="*/ 5 h 11"/>
                <a:gd name="T4" fmla="*/ 6 w 174"/>
                <a:gd name="T5" fmla="*/ 0 h 11"/>
                <a:gd name="T6" fmla="*/ 169 w 174"/>
                <a:gd name="T7" fmla="*/ 0 h 11"/>
                <a:gd name="T8" fmla="*/ 174 w 174"/>
                <a:gd name="T9" fmla="*/ 5 h 11"/>
                <a:gd name="T10" fmla="*/ 169 w 174"/>
                <a:gd name="T11" fmla="*/ 11 h 11"/>
                <a:gd name="T12" fmla="*/ 6 w 174"/>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74" h="11">
                  <a:moveTo>
                    <a:pt x="6" y="11"/>
                  </a:moveTo>
                  <a:cubicBezTo>
                    <a:pt x="3" y="11"/>
                    <a:pt x="0" y="8"/>
                    <a:pt x="0" y="5"/>
                  </a:cubicBezTo>
                  <a:cubicBezTo>
                    <a:pt x="0" y="3"/>
                    <a:pt x="3" y="0"/>
                    <a:pt x="6" y="0"/>
                  </a:cubicBezTo>
                  <a:cubicBezTo>
                    <a:pt x="169" y="0"/>
                    <a:pt x="169" y="0"/>
                    <a:pt x="169" y="0"/>
                  </a:cubicBezTo>
                  <a:cubicBezTo>
                    <a:pt x="172" y="0"/>
                    <a:pt x="174" y="3"/>
                    <a:pt x="174" y="5"/>
                  </a:cubicBezTo>
                  <a:cubicBezTo>
                    <a:pt x="174" y="8"/>
                    <a:pt x="172" y="11"/>
                    <a:pt x="169" y="11"/>
                  </a:cubicBezTo>
                  <a:lnTo>
                    <a:pt x="6"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1">
              <a:extLst>
                <a:ext uri="{FF2B5EF4-FFF2-40B4-BE49-F238E27FC236}">
                  <a16:creationId xmlns:a16="http://schemas.microsoft.com/office/drawing/2014/main" id="{60A89A11-F412-0BBA-CE76-6A7FE34A15E9}"/>
                </a:ext>
              </a:extLst>
            </p:cNvPr>
            <p:cNvSpPr>
              <a:spLocks/>
            </p:cNvSpPr>
            <p:nvPr/>
          </p:nvSpPr>
          <p:spPr bwMode="auto">
            <a:xfrm>
              <a:off x="814388" y="1185863"/>
              <a:ext cx="512763" cy="30163"/>
            </a:xfrm>
            <a:custGeom>
              <a:avLst/>
              <a:gdLst>
                <a:gd name="T0" fmla="*/ 6 w 174"/>
                <a:gd name="T1" fmla="*/ 10 h 10"/>
                <a:gd name="T2" fmla="*/ 0 w 174"/>
                <a:gd name="T3" fmla="*/ 5 h 10"/>
                <a:gd name="T4" fmla="*/ 6 w 174"/>
                <a:gd name="T5" fmla="*/ 0 h 10"/>
                <a:gd name="T6" fmla="*/ 169 w 174"/>
                <a:gd name="T7" fmla="*/ 0 h 10"/>
                <a:gd name="T8" fmla="*/ 174 w 174"/>
                <a:gd name="T9" fmla="*/ 5 h 10"/>
                <a:gd name="T10" fmla="*/ 169 w 174"/>
                <a:gd name="T11" fmla="*/ 10 h 10"/>
                <a:gd name="T12" fmla="*/ 6 w 17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74" h="10">
                  <a:moveTo>
                    <a:pt x="6" y="10"/>
                  </a:moveTo>
                  <a:cubicBezTo>
                    <a:pt x="3" y="10"/>
                    <a:pt x="0" y="8"/>
                    <a:pt x="0" y="5"/>
                  </a:cubicBezTo>
                  <a:cubicBezTo>
                    <a:pt x="0" y="2"/>
                    <a:pt x="3" y="0"/>
                    <a:pt x="6" y="0"/>
                  </a:cubicBezTo>
                  <a:cubicBezTo>
                    <a:pt x="169" y="0"/>
                    <a:pt x="169" y="0"/>
                    <a:pt x="169" y="0"/>
                  </a:cubicBezTo>
                  <a:cubicBezTo>
                    <a:pt x="172" y="0"/>
                    <a:pt x="174" y="2"/>
                    <a:pt x="174" y="5"/>
                  </a:cubicBezTo>
                  <a:cubicBezTo>
                    <a:pt x="174" y="8"/>
                    <a:pt x="172" y="10"/>
                    <a:pt x="169" y="10"/>
                  </a:cubicBezTo>
                  <a:lnTo>
                    <a:pt x="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2">
              <a:extLst>
                <a:ext uri="{FF2B5EF4-FFF2-40B4-BE49-F238E27FC236}">
                  <a16:creationId xmlns:a16="http://schemas.microsoft.com/office/drawing/2014/main" id="{572013F4-602C-01C5-E51C-1871DDB04D6E}"/>
                </a:ext>
              </a:extLst>
            </p:cNvPr>
            <p:cNvSpPr>
              <a:spLocks/>
            </p:cNvSpPr>
            <p:nvPr/>
          </p:nvSpPr>
          <p:spPr bwMode="auto">
            <a:xfrm>
              <a:off x="814388" y="1422401"/>
              <a:ext cx="512763" cy="28575"/>
            </a:xfrm>
            <a:custGeom>
              <a:avLst/>
              <a:gdLst>
                <a:gd name="T0" fmla="*/ 6 w 174"/>
                <a:gd name="T1" fmla="*/ 10 h 10"/>
                <a:gd name="T2" fmla="*/ 0 w 174"/>
                <a:gd name="T3" fmla="*/ 5 h 10"/>
                <a:gd name="T4" fmla="*/ 6 w 174"/>
                <a:gd name="T5" fmla="*/ 0 h 10"/>
                <a:gd name="T6" fmla="*/ 169 w 174"/>
                <a:gd name="T7" fmla="*/ 0 h 10"/>
                <a:gd name="T8" fmla="*/ 174 w 174"/>
                <a:gd name="T9" fmla="*/ 5 h 10"/>
                <a:gd name="T10" fmla="*/ 169 w 174"/>
                <a:gd name="T11" fmla="*/ 10 h 10"/>
                <a:gd name="T12" fmla="*/ 6 w 17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74" h="10">
                  <a:moveTo>
                    <a:pt x="6" y="10"/>
                  </a:moveTo>
                  <a:cubicBezTo>
                    <a:pt x="3" y="10"/>
                    <a:pt x="0" y="8"/>
                    <a:pt x="0" y="5"/>
                  </a:cubicBezTo>
                  <a:cubicBezTo>
                    <a:pt x="0" y="2"/>
                    <a:pt x="3" y="0"/>
                    <a:pt x="6" y="0"/>
                  </a:cubicBezTo>
                  <a:cubicBezTo>
                    <a:pt x="169" y="0"/>
                    <a:pt x="169" y="0"/>
                    <a:pt x="169" y="0"/>
                  </a:cubicBezTo>
                  <a:cubicBezTo>
                    <a:pt x="172" y="0"/>
                    <a:pt x="174" y="2"/>
                    <a:pt x="174" y="5"/>
                  </a:cubicBezTo>
                  <a:cubicBezTo>
                    <a:pt x="174" y="8"/>
                    <a:pt x="172" y="10"/>
                    <a:pt x="169" y="10"/>
                  </a:cubicBezTo>
                  <a:lnTo>
                    <a:pt x="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 name="Group 68">
            <a:extLst>
              <a:ext uri="{FF2B5EF4-FFF2-40B4-BE49-F238E27FC236}">
                <a16:creationId xmlns:a16="http://schemas.microsoft.com/office/drawing/2014/main" id="{7854C604-8F79-CEE8-059A-FE285227B274}"/>
              </a:ext>
            </a:extLst>
          </p:cNvPr>
          <p:cNvGrpSpPr/>
          <p:nvPr/>
        </p:nvGrpSpPr>
        <p:grpSpPr>
          <a:xfrm>
            <a:off x="7791992" y="1546578"/>
            <a:ext cx="954503" cy="955298"/>
            <a:chOff x="7845123" y="1756012"/>
            <a:chExt cx="954503" cy="955298"/>
          </a:xfrm>
        </p:grpSpPr>
        <p:sp>
          <p:nvSpPr>
            <p:cNvPr id="66" name="Oval 65">
              <a:extLst>
                <a:ext uri="{FF2B5EF4-FFF2-40B4-BE49-F238E27FC236}">
                  <a16:creationId xmlns:a16="http://schemas.microsoft.com/office/drawing/2014/main" id="{7E51D89F-55E8-ACCB-27F2-285C66A808CF}"/>
                </a:ext>
              </a:extLst>
            </p:cNvPr>
            <p:cNvSpPr/>
            <p:nvPr/>
          </p:nvSpPr>
          <p:spPr>
            <a:xfrm>
              <a:off x="7845123" y="1756012"/>
              <a:ext cx="954503" cy="955298"/>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Freeform 23">
              <a:extLst>
                <a:ext uri="{FF2B5EF4-FFF2-40B4-BE49-F238E27FC236}">
                  <a16:creationId xmlns:a16="http://schemas.microsoft.com/office/drawing/2014/main" id="{7EC2DCAC-99DE-8D37-5CAD-C6C8CDA65DAA}"/>
                </a:ext>
              </a:extLst>
            </p:cNvPr>
            <p:cNvSpPr>
              <a:spLocks/>
            </p:cNvSpPr>
            <p:nvPr/>
          </p:nvSpPr>
          <p:spPr bwMode="auto">
            <a:xfrm>
              <a:off x="8050179" y="1974861"/>
              <a:ext cx="576645" cy="536100"/>
            </a:xfrm>
            <a:custGeom>
              <a:avLst/>
              <a:gdLst>
                <a:gd name="T0" fmla="*/ 362 w 393"/>
                <a:gd name="T1" fmla="*/ 2 h 366"/>
                <a:gd name="T2" fmla="*/ 308 w 393"/>
                <a:gd name="T3" fmla="*/ 13 h 366"/>
                <a:gd name="T4" fmla="*/ 143 w 393"/>
                <a:gd name="T5" fmla="*/ 253 h 366"/>
                <a:gd name="T6" fmla="*/ 89 w 393"/>
                <a:gd name="T7" fmla="*/ 203 h 366"/>
                <a:gd name="T8" fmla="*/ 38 w 393"/>
                <a:gd name="T9" fmla="*/ 200 h 366"/>
                <a:gd name="T10" fmla="*/ 13 w 393"/>
                <a:gd name="T11" fmla="*/ 220 h 366"/>
                <a:gd name="T12" fmla="*/ 121 w 393"/>
                <a:gd name="T13" fmla="*/ 349 h 366"/>
                <a:gd name="T14" fmla="*/ 199 w 393"/>
                <a:gd name="T15" fmla="*/ 336 h 366"/>
                <a:gd name="T16" fmla="*/ 379 w 393"/>
                <a:gd name="T17" fmla="*/ 19 h 366"/>
                <a:gd name="T18" fmla="*/ 362 w 393"/>
                <a:gd name="T19" fmla="*/ 2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3" h="366">
                  <a:moveTo>
                    <a:pt x="362" y="2"/>
                  </a:moveTo>
                  <a:cubicBezTo>
                    <a:pt x="344" y="0"/>
                    <a:pt x="322" y="3"/>
                    <a:pt x="308" y="13"/>
                  </a:cubicBezTo>
                  <a:cubicBezTo>
                    <a:pt x="226" y="72"/>
                    <a:pt x="174" y="162"/>
                    <a:pt x="143" y="253"/>
                  </a:cubicBezTo>
                  <a:cubicBezTo>
                    <a:pt x="127" y="234"/>
                    <a:pt x="109" y="217"/>
                    <a:pt x="89" y="203"/>
                  </a:cubicBezTo>
                  <a:cubicBezTo>
                    <a:pt x="75" y="194"/>
                    <a:pt x="54" y="196"/>
                    <a:pt x="38" y="200"/>
                  </a:cubicBezTo>
                  <a:cubicBezTo>
                    <a:pt x="34" y="200"/>
                    <a:pt x="0" y="211"/>
                    <a:pt x="13" y="220"/>
                  </a:cubicBezTo>
                  <a:cubicBezTo>
                    <a:pt x="61" y="252"/>
                    <a:pt x="95" y="304"/>
                    <a:pt x="121" y="349"/>
                  </a:cubicBezTo>
                  <a:cubicBezTo>
                    <a:pt x="131" y="366"/>
                    <a:pt x="196" y="354"/>
                    <a:pt x="199" y="336"/>
                  </a:cubicBezTo>
                  <a:cubicBezTo>
                    <a:pt x="220" y="222"/>
                    <a:pt x="276" y="94"/>
                    <a:pt x="379" y="19"/>
                  </a:cubicBezTo>
                  <a:cubicBezTo>
                    <a:pt x="393" y="8"/>
                    <a:pt x="370" y="2"/>
                    <a:pt x="362" y="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70" name="TextBox 69">
            <a:extLst>
              <a:ext uri="{FF2B5EF4-FFF2-40B4-BE49-F238E27FC236}">
                <a16:creationId xmlns:a16="http://schemas.microsoft.com/office/drawing/2014/main" id="{A542DB42-5803-FC16-FC43-6DCDD288950E}"/>
              </a:ext>
            </a:extLst>
          </p:cNvPr>
          <p:cNvSpPr txBox="1"/>
          <p:nvPr/>
        </p:nvSpPr>
        <p:spPr>
          <a:xfrm>
            <a:off x="501652" y="317503"/>
            <a:ext cx="8620271"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black"/>
                </a:solidFill>
                <a:effectLst/>
                <a:uLnTx/>
                <a:uFillTx/>
                <a:latin typeface="Calibri" panose="020F0502020204030204"/>
                <a:ea typeface="+mn-ea"/>
                <a:cs typeface="+mn-cs"/>
              </a:rPr>
              <a:t>Regional Review and Approval Process</a:t>
            </a:r>
          </a:p>
        </p:txBody>
      </p:sp>
    </p:spTree>
    <p:extLst>
      <p:ext uri="{BB962C8B-B14F-4D97-AF65-F5344CB8AC3E}">
        <p14:creationId xmlns:p14="http://schemas.microsoft.com/office/powerpoint/2010/main" val="17069677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D Template Aug 2017 16x9">
  <a:themeElements>
    <a:clrScheme name="Deloitte">
      <a:dk1>
        <a:srgbClr val="000000"/>
      </a:dk1>
      <a:lt1>
        <a:srgbClr val="FFFFFF"/>
      </a:lt1>
      <a:dk2>
        <a:srgbClr val="535659"/>
      </a:dk2>
      <a:lt2>
        <a:srgbClr val="D0D0CE"/>
      </a:lt2>
      <a:accent1>
        <a:srgbClr val="86BC24"/>
      </a:accent1>
      <a:accent2>
        <a:srgbClr val="046938"/>
      </a:accent2>
      <a:accent3>
        <a:srgbClr val="61B5E5"/>
      </a:accent3>
      <a:accent4>
        <a:srgbClr val="012069"/>
      </a:accent4>
      <a:accent5>
        <a:srgbClr val="0097A9"/>
      </a:accent5>
      <a:accent6>
        <a:srgbClr val="75787B"/>
      </a:accent6>
      <a:hlink>
        <a:srgbClr val="00A3E0"/>
      </a:hlink>
      <a:folHlink>
        <a:srgbClr val="535659"/>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id="{B4543C5C-A3F5-40EC-92E6-E0B5EFCAD0CA}" vid="{540D5DE9-AACF-4F06-9757-1B7754C15DCE}"/>
    </a:ext>
  </a:extLst>
</a:theme>
</file>

<file path=ppt/theme/theme3.xml><?xml version="1.0" encoding="utf-8"?>
<a:theme xmlns:a="http://schemas.openxmlformats.org/drawingml/2006/main" name="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4.xml><?xml version="1.0" encoding="utf-8"?>
<a:theme xmlns:a="http://schemas.openxmlformats.org/drawingml/2006/main" name="Office Theme">
  <a:themeElements>
    <a:clrScheme name="Custom 2">
      <a:dk1>
        <a:sysClr val="windowText" lastClr="000000"/>
      </a:dk1>
      <a:lt1>
        <a:sysClr val="window" lastClr="FFFFFF"/>
      </a:lt1>
      <a:dk2>
        <a:srgbClr val="53565A"/>
      </a:dk2>
      <a:lt2>
        <a:srgbClr val="D0D0CE"/>
      </a:lt2>
      <a:accent1>
        <a:srgbClr val="22326E"/>
      </a:accent1>
      <a:accent2>
        <a:srgbClr val="009DEA"/>
      </a:accent2>
      <a:accent3>
        <a:srgbClr val="E03C39"/>
      </a:accent3>
      <a:accent4>
        <a:srgbClr val="ED8C00"/>
      </a:accent4>
      <a:accent5>
        <a:srgbClr val="0097A9"/>
      </a:accent5>
      <a:accent6>
        <a:srgbClr val="75787B"/>
      </a:accent6>
      <a:hlink>
        <a:srgbClr val="00A3E0"/>
      </a:hlink>
      <a:folHlink>
        <a:srgbClr val="53565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ustom 2">
      <a:dk1>
        <a:sysClr val="windowText" lastClr="000000"/>
      </a:dk1>
      <a:lt1>
        <a:sysClr val="window" lastClr="FFFFFF"/>
      </a:lt1>
      <a:dk2>
        <a:srgbClr val="53565A"/>
      </a:dk2>
      <a:lt2>
        <a:srgbClr val="D0D0CE"/>
      </a:lt2>
      <a:accent1>
        <a:srgbClr val="22326E"/>
      </a:accent1>
      <a:accent2>
        <a:srgbClr val="009DEA"/>
      </a:accent2>
      <a:accent3>
        <a:srgbClr val="E03C39"/>
      </a:accent3>
      <a:accent4>
        <a:srgbClr val="ED8C00"/>
      </a:accent4>
      <a:accent5>
        <a:srgbClr val="0097A9"/>
      </a:accent5>
      <a:accent6>
        <a:srgbClr val="75787B"/>
      </a:accent6>
      <a:hlink>
        <a:srgbClr val="00A3E0"/>
      </a:hlink>
      <a:folHlink>
        <a:srgbClr val="53565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5aa524db-7994-4ced-a2c9-48a98e90847e">
      <Terms xmlns="http://schemas.microsoft.com/office/infopath/2007/PartnerControls"/>
    </lcf76f155ced4ddcb4097134ff3c332f>
    <TaxCatchAll xmlns="8a992f34-6748-40d0-a1a6-bff449e3bc95" xsi:nil="true"/>
    <Description0 xmlns="5aa524db-7994-4ced-a2c9-48a98e90847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3673E79E0C3E640A3EA83010EA564F7" ma:contentTypeVersion="12" ma:contentTypeDescription="Create a new document." ma:contentTypeScope="" ma:versionID="efce251a4746054bbe027ae231bc47a5">
  <xsd:schema xmlns:xsd="http://www.w3.org/2001/XMLSchema" xmlns:xs="http://www.w3.org/2001/XMLSchema" xmlns:p="http://schemas.microsoft.com/office/2006/metadata/properties" xmlns:ns2="5aa524db-7994-4ced-a2c9-48a98e90847e" xmlns:ns3="8a992f34-6748-40d0-a1a6-bff449e3bc95" targetNamespace="http://schemas.microsoft.com/office/2006/metadata/properties" ma:root="true" ma:fieldsID="bb25d42501bc21e45c0a4215ac396311" ns2:_="" ns3:_="">
    <xsd:import namespace="5aa524db-7994-4ced-a2c9-48a98e90847e"/>
    <xsd:import namespace="8a992f34-6748-40d0-a1a6-bff449e3bc9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Description0"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a524db-7994-4ced-a2c9-48a98e90847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Description0" ma:index="12" nillable="true" ma:displayName="Description" ma:internalName="Description0">
      <xsd:simpleType>
        <xsd:restriction base="dms:Note">
          <xsd:maxLength value="255"/>
        </xsd:restrictio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69be3ee5-5d72-4a78-bfe6-04ec158992b3"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a992f34-6748-40d0-a1a6-bff449e3bc95"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f75d7816-9169-48cb-b9df-4d21a66dca2d}" ma:internalName="TaxCatchAll" ma:showField="CatchAllData" ma:web="8a992f34-6748-40d0-a1a6-bff449e3bc9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2300DA2-2870-437E-934F-003962E36848}">
  <ds:schemaRefs>
    <ds:schemaRef ds:uri="http://purl.org/dc/dcmitype/"/>
    <ds:schemaRef ds:uri="http://www.w3.org/XML/1998/namespace"/>
    <ds:schemaRef ds:uri="http://schemas.microsoft.com/office/2006/metadata/properties"/>
    <ds:schemaRef ds:uri="http://purl.org/dc/elements/1.1/"/>
    <ds:schemaRef ds:uri="http://schemas.microsoft.com/office/2006/documentManagement/types"/>
    <ds:schemaRef ds:uri="19549706-5f2c-4003-adc8-20c6cba2071d"/>
    <ds:schemaRef ds:uri="802b1eda-dc51-4e94-8693-1e87e484ca85"/>
    <ds:schemaRef ds:uri="http://schemas.microsoft.com/office/infopath/2007/PartnerControls"/>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2458C5A3-50FD-44EC-96D1-E9A17DFE583B}">
  <ds:schemaRefs>
    <ds:schemaRef ds:uri="http://schemas.microsoft.com/sharepoint/v3/contenttype/forms"/>
  </ds:schemaRefs>
</ds:datastoreItem>
</file>

<file path=customXml/itemProps3.xml><?xml version="1.0" encoding="utf-8"?>
<ds:datastoreItem xmlns:ds="http://schemas.openxmlformats.org/officeDocument/2006/customXml" ds:itemID="{366FFF83-95F7-4AD3-B1FA-A7027A3748CA}"/>
</file>

<file path=docProps/app.xml><?xml version="1.0" encoding="utf-8"?>
<Properties xmlns="http://schemas.openxmlformats.org/officeDocument/2006/extended-properties" xmlns:vt="http://schemas.openxmlformats.org/officeDocument/2006/docPropsVTypes">
  <TotalTime>0</TotalTime>
  <Words>1005</Words>
  <Application>Microsoft Office PowerPoint</Application>
  <PresentationFormat>Widescreen</PresentationFormat>
  <Paragraphs>103</Paragraphs>
  <Slides>17</Slides>
  <Notes>17</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17</vt:i4>
      </vt:variant>
    </vt:vector>
  </HeadingPairs>
  <TitlesOfParts>
    <vt:vector size="33" baseType="lpstr">
      <vt:lpstr>Arial</vt:lpstr>
      <vt:lpstr>Calibri</vt:lpstr>
      <vt:lpstr>Calibri Light</vt:lpstr>
      <vt:lpstr>Chronicle Display Black</vt:lpstr>
      <vt:lpstr>Open Sans</vt:lpstr>
      <vt:lpstr>Open Sans Light</vt:lpstr>
      <vt:lpstr>Open Sans Semibold</vt:lpstr>
      <vt:lpstr>Segoe UI</vt:lpstr>
      <vt:lpstr>Verdana</vt:lpstr>
      <vt:lpstr>Wingdings 2</vt:lpstr>
      <vt:lpstr>Custom Design</vt:lpstr>
      <vt:lpstr>1_DD Template Aug 2017 16x9</vt:lpstr>
      <vt:lpstr>Deloitte Consulting Scrapbook</vt:lpstr>
      <vt:lpstr>Office Theme</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posed Agenda</dc:title>
  <dc:creator>Kolodgy, Megan</dc:creator>
  <cp:lastModifiedBy>Gray, Lauren</cp:lastModifiedBy>
  <cp:revision>2</cp:revision>
  <cp:lastPrinted>2020-09-21T19:18:00Z</cp:lastPrinted>
  <dcterms:created xsi:type="dcterms:W3CDTF">2020-08-17T09:45:25Z</dcterms:created>
  <dcterms:modified xsi:type="dcterms:W3CDTF">2023-07-06T14:0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E7207DD4871B4C9D796AC40D7D66FD</vt:lpwstr>
  </property>
  <property fmtid="{D5CDD505-2E9C-101B-9397-08002B2CF9AE}" pid="3" name="Language">
    <vt:lpwstr>EnglishUS</vt:lpwstr>
  </property>
  <property fmtid="{D5CDD505-2E9C-101B-9397-08002B2CF9AE}" pid="4" name="MSIP_Label_ea60d57e-af5b-4752-ac57-3e4f28ca11dc_Enabled">
    <vt:lpwstr>true</vt:lpwstr>
  </property>
  <property fmtid="{D5CDD505-2E9C-101B-9397-08002B2CF9AE}" pid="5" name="MSIP_Label_ea60d57e-af5b-4752-ac57-3e4f28ca11dc_SetDate">
    <vt:lpwstr>2021-05-26T15:14:55Z</vt:lpwstr>
  </property>
  <property fmtid="{D5CDD505-2E9C-101B-9397-08002B2CF9AE}" pid="6" name="MSIP_Label_ea60d57e-af5b-4752-ac57-3e4f28ca11dc_Method">
    <vt:lpwstr>Standard</vt:lpwstr>
  </property>
  <property fmtid="{D5CDD505-2E9C-101B-9397-08002B2CF9AE}" pid="7" name="MSIP_Label_ea60d57e-af5b-4752-ac57-3e4f28ca11dc_Name">
    <vt:lpwstr>ea60d57e-af5b-4752-ac57-3e4f28ca11dc</vt:lpwstr>
  </property>
  <property fmtid="{D5CDD505-2E9C-101B-9397-08002B2CF9AE}" pid="8" name="MSIP_Label_ea60d57e-af5b-4752-ac57-3e4f28ca11dc_SiteId">
    <vt:lpwstr>36da45f1-dd2c-4d1f-af13-5abe46b99921</vt:lpwstr>
  </property>
  <property fmtid="{D5CDD505-2E9C-101B-9397-08002B2CF9AE}" pid="9" name="MSIP_Label_ea60d57e-af5b-4752-ac57-3e4f28ca11dc_ActionId">
    <vt:lpwstr>b53194ba-32c1-43ad-869e-6004ffb3931d</vt:lpwstr>
  </property>
  <property fmtid="{D5CDD505-2E9C-101B-9397-08002B2CF9AE}" pid="10" name="MSIP_Label_ea60d57e-af5b-4752-ac57-3e4f28ca11dc_ContentBits">
    <vt:lpwstr>0</vt:lpwstr>
  </property>
  <property fmtid="{D5CDD505-2E9C-101B-9397-08002B2CF9AE}" pid="11" name="MediaServiceImageTags">
    <vt:lpwstr/>
  </property>
</Properties>
</file>